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8" r:id="rId5"/>
    <p:sldMasterId id="2147483687" r:id="rId6"/>
  </p:sldMasterIdLst>
  <p:notesMasterIdLst>
    <p:notesMasterId r:id="rId34"/>
  </p:notesMasterIdLst>
  <p:handoutMasterIdLst>
    <p:handoutMasterId r:id="rId35"/>
  </p:handoutMasterIdLst>
  <p:sldIdLst>
    <p:sldId id="262" r:id="rId7"/>
    <p:sldId id="316" r:id="rId8"/>
    <p:sldId id="318" r:id="rId9"/>
    <p:sldId id="342" r:id="rId10"/>
    <p:sldId id="319" r:id="rId11"/>
    <p:sldId id="343" r:id="rId12"/>
    <p:sldId id="322" r:id="rId13"/>
    <p:sldId id="323" r:id="rId14"/>
    <p:sldId id="324" r:id="rId15"/>
    <p:sldId id="326" r:id="rId16"/>
    <p:sldId id="344" r:id="rId17"/>
    <p:sldId id="345" r:id="rId18"/>
    <p:sldId id="327" r:id="rId19"/>
    <p:sldId id="328" r:id="rId20"/>
    <p:sldId id="329" r:id="rId21"/>
    <p:sldId id="330" r:id="rId22"/>
    <p:sldId id="331" r:id="rId23"/>
    <p:sldId id="332" r:id="rId24"/>
    <p:sldId id="300" r:id="rId25"/>
    <p:sldId id="334" r:id="rId26"/>
    <p:sldId id="348" r:id="rId27"/>
    <p:sldId id="335" r:id="rId28"/>
    <p:sldId id="336" r:id="rId29"/>
    <p:sldId id="346" r:id="rId30"/>
    <p:sldId id="347" r:id="rId31"/>
    <p:sldId id="337" r:id="rId32"/>
    <p:sldId id="339" r:id="rId33"/>
  </p:sldIdLst>
  <p:sldSz cx="9144000" cy="6858000" type="screen4x3"/>
  <p:notesSz cx="6669088" cy="9926638"/>
  <p:custDataLst>
    <p:tags r:id="rId36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0">
          <p15:clr>
            <a:srgbClr val="A4A3A4"/>
          </p15:clr>
        </p15:guide>
        <p15:guide id="2" orient="horz" pos="442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97">
          <p15:clr>
            <a:srgbClr val="A4A3A4"/>
          </p15:clr>
        </p15:guide>
        <p15:guide id="6" orient="horz" pos="3786">
          <p15:clr>
            <a:srgbClr val="A4A3A4"/>
          </p15:clr>
        </p15:guide>
        <p15:guide id="7" pos="5489">
          <p15:clr>
            <a:srgbClr val="A4A3A4"/>
          </p15:clr>
        </p15:guide>
        <p15:guide id="8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333333"/>
    <a:srgbClr val="002C77"/>
    <a:srgbClr val="00A0DB"/>
    <a:srgbClr val="BFDBFD"/>
    <a:srgbClr val="AED1FC"/>
    <a:srgbClr val="A3CBFB"/>
    <a:srgbClr val="0A74F4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70A37D6-B23D-4479-90ED-1CB844107D1F}" v="11" dt="2024-11-26T15:50:28.0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61" autoAdjust="0"/>
    <p:restoredTop sz="83040" autoAdjust="0"/>
  </p:normalViewPr>
  <p:slideViewPr>
    <p:cSldViewPr snapToObjects="1" showGuides="1">
      <p:cViewPr varScale="1">
        <p:scale>
          <a:sx n="86" d="100"/>
          <a:sy n="86" d="100"/>
        </p:scale>
        <p:origin x="1203" y="39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notesViewPr>
    <p:cSldViewPr snapToObjects="1">
      <p:cViewPr varScale="1">
        <p:scale>
          <a:sx n="83" d="100"/>
          <a:sy n="83" d="100"/>
        </p:scale>
        <p:origin x="-3108" y="-7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san Bielmann" userId="a79a17f1-673e-4f39-a691-ea29e35682b9" providerId="ADAL" clId="{7C49D249-95B9-4086-B80C-823AAFCB17E8}"/>
    <pc:docChg chg="undo custSel addSld delSld modSld sldOrd delMainMaster">
      <pc:chgData name="Susan Bielmann" userId="a79a17f1-673e-4f39-a691-ea29e35682b9" providerId="ADAL" clId="{7C49D249-95B9-4086-B80C-823AAFCB17E8}" dt="2023-12-01T15:30:51.092" v="7953" actId="20577"/>
      <pc:docMkLst>
        <pc:docMk/>
      </pc:docMkLst>
      <pc:sldChg chg="modSp mod">
        <pc:chgData name="Susan Bielmann" userId="a79a17f1-673e-4f39-a691-ea29e35682b9" providerId="ADAL" clId="{7C49D249-95B9-4086-B80C-823AAFCB17E8}" dt="2023-11-29T13:06:18.828" v="24" actId="20577"/>
        <pc:sldMkLst>
          <pc:docMk/>
          <pc:sldMk cId="0" sldId="262"/>
        </pc:sldMkLst>
        <pc:spChg chg="mod">
          <ac:chgData name="Susan Bielmann" userId="a79a17f1-673e-4f39-a691-ea29e35682b9" providerId="ADAL" clId="{7C49D249-95B9-4086-B80C-823AAFCB17E8}" dt="2023-11-29T13:06:05.805" v="3" actId="20577"/>
          <ac:spMkLst>
            <pc:docMk/>
            <pc:sldMk cId="0" sldId="262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3:06:18.828" v="24" actId="20577"/>
          <ac:spMkLst>
            <pc:docMk/>
            <pc:sldMk cId="0" sldId="262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8:12:43.819" v="6683" actId="13926"/>
        <pc:sldMkLst>
          <pc:docMk/>
          <pc:sldMk cId="0" sldId="300"/>
        </pc:sldMkLst>
        <pc:spChg chg="mod">
          <ac:chgData name="Susan Bielmann" userId="a79a17f1-673e-4f39-a691-ea29e35682b9" providerId="ADAL" clId="{7C49D249-95B9-4086-B80C-823AAFCB17E8}" dt="2023-11-29T18:12:43.819" v="6683" actId="13926"/>
          <ac:spMkLst>
            <pc:docMk/>
            <pc:sldMk cId="0" sldId="300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3:17:25.889" v="274" actId="20577"/>
        <pc:sldMkLst>
          <pc:docMk/>
          <pc:sldMk cId="3779225194" sldId="316"/>
        </pc:sldMkLst>
        <pc:spChg chg="mod">
          <ac:chgData name="Susan Bielmann" userId="a79a17f1-673e-4f39-a691-ea29e35682b9" providerId="ADAL" clId="{7C49D249-95B9-4086-B80C-823AAFCB17E8}" dt="2023-11-29T13:06:41.407" v="39" actId="20577"/>
          <ac:spMkLst>
            <pc:docMk/>
            <pc:sldMk cId="3779225194" sldId="316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3:17:25.889" v="274" actId="20577"/>
          <ac:spMkLst>
            <pc:docMk/>
            <pc:sldMk cId="3779225194" sldId="316"/>
            <ac:spMk id="6" creationId="{00000000-0000-0000-0000-000000000000}"/>
          </ac:spMkLst>
        </pc:spChg>
      </pc:sldChg>
      <pc:sldChg chg="del">
        <pc:chgData name="Susan Bielmann" userId="a79a17f1-673e-4f39-a691-ea29e35682b9" providerId="ADAL" clId="{7C49D249-95B9-4086-B80C-823AAFCB17E8}" dt="2023-11-29T13:18:42.136" v="279" actId="2696"/>
        <pc:sldMkLst>
          <pc:docMk/>
          <pc:sldMk cId="546188594" sldId="317"/>
        </pc:sldMkLst>
      </pc:sldChg>
      <pc:sldChg chg="modSp mod">
        <pc:chgData name="Susan Bielmann" userId="a79a17f1-673e-4f39-a691-ea29e35682b9" providerId="ADAL" clId="{7C49D249-95B9-4086-B80C-823AAFCB17E8}" dt="2023-11-29T13:38:50.882" v="795" actId="948"/>
        <pc:sldMkLst>
          <pc:docMk/>
          <pc:sldMk cId="2281574707" sldId="318"/>
        </pc:sldMkLst>
        <pc:spChg chg="mod">
          <ac:chgData name="Susan Bielmann" userId="a79a17f1-673e-4f39-a691-ea29e35682b9" providerId="ADAL" clId="{7C49D249-95B9-4086-B80C-823AAFCB17E8}" dt="2023-11-29T13:38:50.882" v="795" actId="948"/>
          <ac:spMkLst>
            <pc:docMk/>
            <pc:sldMk cId="2281574707" sldId="318"/>
            <ac:spMk id="6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3:37:15.926" v="791" actId="20577"/>
          <ac:spMkLst>
            <pc:docMk/>
            <pc:sldMk cId="2281574707" sldId="318"/>
            <ac:spMk id="7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3:46:16.148" v="1035" actId="255"/>
        <pc:sldMkLst>
          <pc:docMk/>
          <pc:sldMk cId="3424164304" sldId="319"/>
        </pc:sldMkLst>
        <pc:spChg chg="mod">
          <ac:chgData name="Susan Bielmann" userId="a79a17f1-673e-4f39-a691-ea29e35682b9" providerId="ADAL" clId="{7C49D249-95B9-4086-B80C-823AAFCB17E8}" dt="2023-11-29T13:46:16.148" v="1035" actId="255"/>
          <ac:spMkLst>
            <pc:docMk/>
            <pc:sldMk cId="3424164304" sldId="319"/>
            <ac:spMk id="6" creationId="{00000000-0000-0000-0000-000000000000}"/>
          </ac:spMkLst>
        </pc:spChg>
      </pc:sldChg>
      <pc:sldChg chg="del ord">
        <pc:chgData name="Susan Bielmann" userId="a79a17f1-673e-4f39-a691-ea29e35682b9" providerId="ADAL" clId="{7C49D249-95B9-4086-B80C-823AAFCB17E8}" dt="2023-11-29T13:18:32.066" v="278" actId="2696"/>
        <pc:sldMkLst>
          <pc:docMk/>
          <pc:sldMk cId="2213312992" sldId="320"/>
        </pc:sldMkLst>
      </pc:sldChg>
      <pc:sldChg chg="del">
        <pc:chgData name="Susan Bielmann" userId="a79a17f1-673e-4f39-a691-ea29e35682b9" providerId="ADAL" clId="{7C49D249-95B9-4086-B80C-823AAFCB17E8}" dt="2023-11-29T13:56:38.846" v="1375" actId="2696"/>
        <pc:sldMkLst>
          <pc:docMk/>
          <pc:sldMk cId="2380718918" sldId="321"/>
        </pc:sldMkLst>
      </pc:sldChg>
      <pc:sldChg chg="modSp mod">
        <pc:chgData name="Susan Bielmann" userId="a79a17f1-673e-4f39-a691-ea29e35682b9" providerId="ADAL" clId="{7C49D249-95B9-4086-B80C-823AAFCB17E8}" dt="2023-11-29T14:07:44.696" v="1829" actId="948"/>
        <pc:sldMkLst>
          <pc:docMk/>
          <pc:sldMk cId="914962679" sldId="322"/>
        </pc:sldMkLst>
        <pc:spChg chg="mod">
          <ac:chgData name="Susan Bielmann" userId="a79a17f1-673e-4f39-a691-ea29e35682b9" providerId="ADAL" clId="{7C49D249-95B9-4086-B80C-823AAFCB17E8}" dt="2023-11-29T13:57:46.032" v="1406" actId="20577"/>
          <ac:spMkLst>
            <pc:docMk/>
            <pc:sldMk cId="914962679" sldId="322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4:07:44.696" v="1829" actId="948"/>
          <ac:spMkLst>
            <pc:docMk/>
            <pc:sldMk cId="914962679" sldId="322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4:09:49.987" v="1861" actId="20577"/>
        <pc:sldMkLst>
          <pc:docMk/>
          <pc:sldMk cId="17091957" sldId="323"/>
        </pc:sldMkLst>
        <pc:spChg chg="mod">
          <ac:chgData name="Susan Bielmann" userId="a79a17f1-673e-4f39-a691-ea29e35682b9" providerId="ADAL" clId="{7C49D249-95B9-4086-B80C-823AAFCB17E8}" dt="2023-11-29T14:09:23.318" v="1848" actId="1076"/>
          <ac:spMkLst>
            <pc:docMk/>
            <pc:sldMk cId="17091957" sldId="323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4:09:49.987" v="1861" actId="20577"/>
          <ac:spMkLst>
            <pc:docMk/>
            <pc:sldMk cId="17091957" sldId="323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4:24:58.305" v="2655" actId="20577"/>
        <pc:sldMkLst>
          <pc:docMk/>
          <pc:sldMk cId="4182660791" sldId="324"/>
        </pc:sldMkLst>
        <pc:spChg chg="mod">
          <ac:chgData name="Susan Bielmann" userId="a79a17f1-673e-4f39-a691-ea29e35682b9" providerId="ADAL" clId="{7C49D249-95B9-4086-B80C-823AAFCB17E8}" dt="2023-11-29T14:24:58.305" v="2655" actId="20577"/>
          <ac:spMkLst>
            <pc:docMk/>
            <pc:sldMk cId="4182660791" sldId="324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4:45:32.286" v="3055" actId="113"/>
        <pc:sldMkLst>
          <pc:docMk/>
          <pc:sldMk cId="1799289619" sldId="326"/>
        </pc:sldMkLst>
        <pc:spChg chg="mod">
          <ac:chgData name="Susan Bielmann" userId="a79a17f1-673e-4f39-a691-ea29e35682b9" providerId="ADAL" clId="{7C49D249-95B9-4086-B80C-823AAFCB17E8}" dt="2023-11-29T14:45:32.286" v="3055" actId="113"/>
          <ac:spMkLst>
            <pc:docMk/>
            <pc:sldMk cId="1799289619" sldId="326"/>
            <ac:spMk id="6" creationId="{00000000-0000-0000-0000-000000000000}"/>
          </ac:spMkLst>
        </pc:spChg>
      </pc:sldChg>
      <pc:sldChg chg="modSp mod ord">
        <pc:chgData name="Susan Bielmann" userId="a79a17f1-673e-4f39-a691-ea29e35682b9" providerId="ADAL" clId="{7C49D249-95B9-4086-B80C-823AAFCB17E8}" dt="2023-11-29T15:22:47.926" v="4517" actId="20577"/>
        <pc:sldMkLst>
          <pc:docMk/>
          <pc:sldMk cId="1907628092" sldId="327"/>
        </pc:sldMkLst>
        <pc:spChg chg="mod">
          <ac:chgData name="Susan Bielmann" userId="a79a17f1-673e-4f39-a691-ea29e35682b9" providerId="ADAL" clId="{7C49D249-95B9-4086-B80C-823AAFCB17E8}" dt="2023-11-29T15:22:47.926" v="4517" actId="20577"/>
          <ac:spMkLst>
            <pc:docMk/>
            <pc:sldMk cId="1907628092" sldId="327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5:33:51.794" v="4870" actId="20577"/>
        <pc:sldMkLst>
          <pc:docMk/>
          <pc:sldMk cId="2790990060" sldId="328"/>
        </pc:sldMkLst>
        <pc:spChg chg="mod">
          <ac:chgData name="Susan Bielmann" userId="a79a17f1-673e-4f39-a691-ea29e35682b9" providerId="ADAL" clId="{7C49D249-95B9-4086-B80C-823AAFCB17E8}" dt="2023-11-29T15:33:51.794" v="4870" actId="20577"/>
          <ac:spMkLst>
            <pc:docMk/>
            <pc:sldMk cId="2790990060" sldId="328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5:44:36.832" v="5612" actId="1076"/>
        <pc:sldMkLst>
          <pc:docMk/>
          <pc:sldMk cId="2342500704" sldId="329"/>
        </pc:sldMkLst>
        <pc:spChg chg="mod">
          <ac:chgData name="Susan Bielmann" userId="a79a17f1-673e-4f39-a691-ea29e35682b9" providerId="ADAL" clId="{7C49D249-95B9-4086-B80C-823AAFCB17E8}" dt="2023-11-29T15:34:33.824" v="4888" actId="20577"/>
          <ac:spMkLst>
            <pc:docMk/>
            <pc:sldMk cId="2342500704" sldId="329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5:44:36.832" v="5612" actId="1076"/>
          <ac:spMkLst>
            <pc:docMk/>
            <pc:sldMk cId="2342500704" sldId="329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5:47:03.357" v="5758" actId="113"/>
        <pc:sldMkLst>
          <pc:docMk/>
          <pc:sldMk cId="1153073707" sldId="330"/>
        </pc:sldMkLst>
        <pc:spChg chg="mod">
          <ac:chgData name="Susan Bielmann" userId="a79a17f1-673e-4f39-a691-ea29e35682b9" providerId="ADAL" clId="{7C49D249-95B9-4086-B80C-823AAFCB17E8}" dt="2023-11-29T15:45:12.153" v="5613" actId="20577"/>
          <ac:spMkLst>
            <pc:docMk/>
            <pc:sldMk cId="1153073707" sldId="330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5:47:03.357" v="5758" actId="113"/>
          <ac:spMkLst>
            <pc:docMk/>
            <pc:sldMk cId="1153073707" sldId="330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5:51:17.692" v="5836" actId="20577"/>
        <pc:sldMkLst>
          <pc:docMk/>
          <pc:sldMk cId="3096691638" sldId="331"/>
        </pc:sldMkLst>
        <pc:spChg chg="mod">
          <ac:chgData name="Susan Bielmann" userId="a79a17f1-673e-4f39-a691-ea29e35682b9" providerId="ADAL" clId="{7C49D249-95B9-4086-B80C-823AAFCB17E8}" dt="2023-11-29T15:51:17.692" v="5836" actId="20577"/>
          <ac:spMkLst>
            <pc:docMk/>
            <pc:sldMk cId="3096691638" sldId="331"/>
            <ac:spMk id="6" creationId="{00000000-0000-0000-0000-000000000000}"/>
          </ac:spMkLst>
        </pc:spChg>
      </pc:sldChg>
      <pc:sldChg chg="addSp delSp modSp mod">
        <pc:chgData name="Susan Bielmann" userId="a79a17f1-673e-4f39-a691-ea29e35682b9" providerId="ADAL" clId="{7C49D249-95B9-4086-B80C-823AAFCB17E8}" dt="2023-11-29T18:08:03.246" v="6547" actId="255"/>
        <pc:sldMkLst>
          <pc:docMk/>
          <pc:sldMk cId="3148626365" sldId="332"/>
        </pc:sldMkLst>
        <pc:spChg chg="add del">
          <ac:chgData name="Susan Bielmann" userId="a79a17f1-673e-4f39-a691-ea29e35682b9" providerId="ADAL" clId="{7C49D249-95B9-4086-B80C-823AAFCB17E8}" dt="2023-11-29T17:49:03.231" v="5842"/>
          <ac:spMkLst>
            <pc:docMk/>
            <pc:sldMk cId="3148626365" sldId="332"/>
            <ac:spMk id="2" creationId="{0F057126-5002-6532-2D92-4BF3A414B483}"/>
          </ac:spMkLst>
        </pc:spChg>
        <pc:spChg chg="add del">
          <ac:chgData name="Susan Bielmann" userId="a79a17f1-673e-4f39-a691-ea29e35682b9" providerId="ADAL" clId="{7C49D249-95B9-4086-B80C-823AAFCB17E8}" dt="2023-11-29T17:54:11.288" v="5953"/>
          <ac:spMkLst>
            <pc:docMk/>
            <pc:sldMk cId="3148626365" sldId="332"/>
            <ac:spMk id="3" creationId="{36C18531-3910-987B-4C1B-53DBC7B2A14E}"/>
          </ac:spMkLst>
        </pc:spChg>
        <pc:spChg chg="add del">
          <ac:chgData name="Susan Bielmann" userId="a79a17f1-673e-4f39-a691-ea29e35682b9" providerId="ADAL" clId="{7C49D249-95B9-4086-B80C-823AAFCB17E8}" dt="2023-11-29T18:01:42.972" v="6319"/>
          <ac:spMkLst>
            <pc:docMk/>
            <pc:sldMk cId="3148626365" sldId="332"/>
            <ac:spMk id="4" creationId="{DE1DC802-25FD-67E8-0A9A-90A49E8CFA2D}"/>
          </ac:spMkLst>
        </pc:spChg>
        <pc:spChg chg="mod">
          <ac:chgData name="Susan Bielmann" userId="a79a17f1-673e-4f39-a691-ea29e35682b9" providerId="ADAL" clId="{7C49D249-95B9-4086-B80C-823AAFCB17E8}" dt="2023-11-29T17:49:44.960" v="5852" actId="14100"/>
          <ac:spMkLst>
            <pc:docMk/>
            <pc:sldMk cId="3148626365" sldId="332"/>
            <ac:spMk id="5" creationId="{00000000-0000-0000-0000-000000000000}"/>
          </ac:spMkLst>
        </pc:spChg>
        <pc:spChg chg="mod">
          <ac:chgData name="Susan Bielmann" userId="a79a17f1-673e-4f39-a691-ea29e35682b9" providerId="ADAL" clId="{7C49D249-95B9-4086-B80C-823AAFCB17E8}" dt="2023-11-29T18:08:03.246" v="6547" actId="255"/>
          <ac:spMkLst>
            <pc:docMk/>
            <pc:sldMk cId="3148626365" sldId="332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8:13:44.974" v="6690" actId="1076"/>
        <pc:sldMkLst>
          <pc:docMk/>
          <pc:sldMk cId="2608956230" sldId="334"/>
        </pc:sldMkLst>
        <pc:spChg chg="mod">
          <ac:chgData name="Susan Bielmann" userId="a79a17f1-673e-4f39-a691-ea29e35682b9" providerId="ADAL" clId="{7C49D249-95B9-4086-B80C-823AAFCB17E8}" dt="2023-11-29T18:13:44.974" v="6690" actId="1076"/>
          <ac:spMkLst>
            <pc:docMk/>
            <pc:sldMk cId="2608956230" sldId="334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8:14:40.167" v="6694" actId="14100"/>
        <pc:sldMkLst>
          <pc:docMk/>
          <pc:sldMk cId="901006481" sldId="335"/>
        </pc:sldMkLst>
        <pc:spChg chg="mod">
          <ac:chgData name="Susan Bielmann" userId="a79a17f1-673e-4f39-a691-ea29e35682b9" providerId="ADAL" clId="{7C49D249-95B9-4086-B80C-823AAFCB17E8}" dt="2023-11-29T18:14:40.167" v="6694" actId="14100"/>
          <ac:spMkLst>
            <pc:docMk/>
            <pc:sldMk cId="901006481" sldId="335"/>
            <ac:spMk id="6" creationId="{00000000-0000-0000-0000-000000000000}"/>
          </ac:spMkLst>
        </pc:spChg>
      </pc:sldChg>
      <pc:sldChg chg="modSp mod ord">
        <pc:chgData name="Susan Bielmann" userId="a79a17f1-673e-4f39-a691-ea29e35682b9" providerId="ADAL" clId="{7C49D249-95B9-4086-B80C-823AAFCB17E8}" dt="2023-11-29T18:20:02.159" v="7056"/>
        <pc:sldMkLst>
          <pc:docMk/>
          <pc:sldMk cId="2030669535" sldId="337"/>
        </pc:sldMkLst>
        <pc:spChg chg="mod">
          <ac:chgData name="Susan Bielmann" userId="a79a17f1-673e-4f39-a691-ea29e35682b9" providerId="ADAL" clId="{7C49D249-95B9-4086-B80C-823AAFCB17E8}" dt="2023-11-29T18:15:03.997" v="6695" actId="20577"/>
          <ac:spMkLst>
            <pc:docMk/>
            <pc:sldMk cId="2030669535" sldId="337"/>
            <ac:spMk id="7" creationId="{00000000-0000-0000-0000-000000000000}"/>
          </ac:spMkLst>
        </pc:spChg>
      </pc:sldChg>
      <pc:sldChg chg="modSp mod">
        <pc:chgData name="Susan Bielmann" userId="a79a17f1-673e-4f39-a691-ea29e35682b9" providerId="ADAL" clId="{7C49D249-95B9-4086-B80C-823AAFCB17E8}" dt="2023-11-29T14:45:49.988" v="3056" actId="1076"/>
        <pc:sldMkLst>
          <pc:docMk/>
          <pc:sldMk cId="1588713514" sldId="340"/>
        </pc:sldMkLst>
        <pc:spChg chg="mod">
          <ac:chgData name="Susan Bielmann" userId="a79a17f1-673e-4f39-a691-ea29e35682b9" providerId="ADAL" clId="{7C49D249-95B9-4086-B80C-823AAFCB17E8}" dt="2023-11-29T14:45:49.988" v="3056" actId="1076"/>
          <ac:spMkLst>
            <pc:docMk/>
            <pc:sldMk cId="1588713514" sldId="340"/>
            <ac:spMk id="3" creationId="{00000000-0000-0000-0000-000000000000}"/>
          </ac:spMkLst>
        </pc:spChg>
      </pc:sldChg>
      <pc:sldChg chg="modSp add mod">
        <pc:chgData name="Susan Bielmann" userId="a79a17f1-673e-4f39-a691-ea29e35682b9" providerId="ADAL" clId="{7C49D249-95B9-4086-B80C-823AAFCB17E8}" dt="2023-11-29T13:56:11.007" v="1374" actId="20577"/>
        <pc:sldMkLst>
          <pc:docMk/>
          <pc:sldMk cId="1988957518" sldId="343"/>
        </pc:sldMkLst>
        <pc:spChg chg="mod">
          <ac:chgData name="Susan Bielmann" userId="a79a17f1-673e-4f39-a691-ea29e35682b9" providerId="ADAL" clId="{7C49D249-95B9-4086-B80C-823AAFCB17E8}" dt="2023-11-29T13:56:11.007" v="1374" actId="20577"/>
          <ac:spMkLst>
            <pc:docMk/>
            <pc:sldMk cId="1988957518" sldId="343"/>
            <ac:spMk id="6" creationId="{00000000-0000-0000-0000-000000000000}"/>
          </ac:spMkLst>
        </pc:spChg>
      </pc:sldChg>
      <pc:sldChg chg="modSp new mod">
        <pc:chgData name="Susan Bielmann" userId="a79a17f1-673e-4f39-a691-ea29e35682b9" providerId="ADAL" clId="{7C49D249-95B9-4086-B80C-823AAFCB17E8}" dt="2023-11-29T15:07:43.665" v="3772" actId="14100"/>
        <pc:sldMkLst>
          <pc:docMk/>
          <pc:sldMk cId="576211387" sldId="344"/>
        </pc:sldMkLst>
        <pc:spChg chg="mod">
          <ac:chgData name="Susan Bielmann" userId="a79a17f1-673e-4f39-a691-ea29e35682b9" providerId="ADAL" clId="{7C49D249-95B9-4086-B80C-823AAFCB17E8}" dt="2023-11-29T14:55:57.380" v="3062"/>
          <ac:spMkLst>
            <pc:docMk/>
            <pc:sldMk cId="576211387" sldId="344"/>
            <ac:spMk id="2" creationId="{8BA1B65A-87CC-C681-D718-14D57527B443}"/>
          </ac:spMkLst>
        </pc:spChg>
        <pc:spChg chg="mod">
          <ac:chgData name="Susan Bielmann" userId="a79a17f1-673e-4f39-a691-ea29e35682b9" providerId="ADAL" clId="{7C49D249-95B9-4086-B80C-823AAFCB17E8}" dt="2023-11-29T15:07:43.665" v="3772" actId="14100"/>
          <ac:spMkLst>
            <pc:docMk/>
            <pc:sldMk cId="576211387" sldId="344"/>
            <ac:spMk id="3" creationId="{F54C3AC7-D181-44FF-F564-6888646F20FC}"/>
          </ac:spMkLst>
        </pc:spChg>
      </pc:sldChg>
      <pc:sldChg chg="modSp new mod">
        <pc:chgData name="Susan Bielmann" userId="a79a17f1-673e-4f39-a691-ea29e35682b9" providerId="ADAL" clId="{7C49D249-95B9-4086-B80C-823AAFCB17E8}" dt="2023-11-29T15:16:31.097" v="4061" actId="255"/>
        <pc:sldMkLst>
          <pc:docMk/>
          <pc:sldMk cId="181493658" sldId="345"/>
        </pc:sldMkLst>
        <pc:spChg chg="mod">
          <ac:chgData name="Susan Bielmann" userId="a79a17f1-673e-4f39-a691-ea29e35682b9" providerId="ADAL" clId="{7C49D249-95B9-4086-B80C-823AAFCB17E8}" dt="2023-11-29T15:04:56.733" v="3581"/>
          <ac:spMkLst>
            <pc:docMk/>
            <pc:sldMk cId="181493658" sldId="345"/>
            <ac:spMk id="2" creationId="{E7E0C422-FA09-9754-8C14-5D26F8547D47}"/>
          </ac:spMkLst>
        </pc:spChg>
        <pc:spChg chg="mod">
          <ac:chgData name="Susan Bielmann" userId="a79a17f1-673e-4f39-a691-ea29e35682b9" providerId="ADAL" clId="{7C49D249-95B9-4086-B80C-823AAFCB17E8}" dt="2023-11-29T15:16:31.097" v="4061" actId="255"/>
          <ac:spMkLst>
            <pc:docMk/>
            <pc:sldMk cId="181493658" sldId="345"/>
            <ac:spMk id="3" creationId="{F0A7050E-9E82-4E6D-8FBE-B954EAA1489F}"/>
          </ac:spMkLst>
        </pc:spChg>
      </pc:sldChg>
      <pc:sldChg chg="modSp new mod">
        <pc:chgData name="Susan Bielmann" userId="a79a17f1-673e-4f39-a691-ea29e35682b9" providerId="ADAL" clId="{7C49D249-95B9-4086-B80C-823AAFCB17E8}" dt="2023-11-29T18:19:30.412" v="7053" actId="20577"/>
        <pc:sldMkLst>
          <pc:docMk/>
          <pc:sldMk cId="1449506662" sldId="346"/>
        </pc:sldMkLst>
        <pc:spChg chg="mod">
          <ac:chgData name="Susan Bielmann" userId="a79a17f1-673e-4f39-a691-ea29e35682b9" providerId="ADAL" clId="{7C49D249-95B9-4086-B80C-823AAFCB17E8}" dt="2023-11-29T18:15:46.374" v="6700" actId="122"/>
          <ac:spMkLst>
            <pc:docMk/>
            <pc:sldMk cId="1449506662" sldId="346"/>
            <ac:spMk id="2" creationId="{AD9997E7-9D23-8794-2A92-5CB7400A20B4}"/>
          </ac:spMkLst>
        </pc:spChg>
        <pc:spChg chg="mod">
          <ac:chgData name="Susan Bielmann" userId="a79a17f1-673e-4f39-a691-ea29e35682b9" providerId="ADAL" clId="{7C49D249-95B9-4086-B80C-823AAFCB17E8}" dt="2023-11-29T18:19:30.412" v="7053" actId="20577"/>
          <ac:spMkLst>
            <pc:docMk/>
            <pc:sldMk cId="1449506662" sldId="346"/>
            <ac:spMk id="3" creationId="{F4380038-66FE-D899-D610-BC8EFF04E656}"/>
          </ac:spMkLst>
        </pc:spChg>
      </pc:sldChg>
      <pc:sldChg chg="modSp new mod">
        <pc:chgData name="Susan Bielmann" userId="a79a17f1-673e-4f39-a691-ea29e35682b9" providerId="ADAL" clId="{7C49D249-95B9-4086-B80C-823AAFCB17E8}" dt="2023-12-01T15:30:51.092" v="7953" actId="20577"/>
        <pc:sldMkLst>
          <pc:docMk/>
          <pc:sldMk cId="1244253289" sldId="347"/>
        </pc:sldMkLst>
        <pc:spChg chg="mod">
          <ac:chgData name="Susan Bielmann" userId="a79a17f1-673e-4f39-a691-ea29e35682b9" providerId="ADAL" clId="{7C49D249-95B9-4086-B80C-823AAFCB17E8}" dt="2023-11-29T18:20:47.123" v="7178" actId="20577"/>
          <ac:spMkLst>
            <pc:docMk/>
            <pc:sldMk cId="1244253289" sldId="347"/>
            <ac:spMk id="2" creationId="{9D1280CB-86CF-0BB8-6C5E-69E0E99179AB}"/>
          </ac:spMkLst>
        </pc:spChg>
        <pc:spChg chg="mod">
          <ac:chgData name="Susan Bielmann" userId="a79a17f1-673e-4f39-a691-ea29e35682b9" providerId="ADAL" clId="{7C49D249-95B9-4086-B80C-823AAFCB17E8}" dt="2023-12-01T15:30:51.092" v="7953" actId="20577"/>
          <ac:spMkLst>
            <pc:docMk/>
            <pc:sldMk cId="1244253289" sldId="347"/>
            <ac:spMk id="3" creationId="{2BDD69A5-D278-7E45-1B1F-16F6FE0165B3}"/>
          </ac:spMkLst>
        </pc:spChg>
      </pc:sldChg>
      <pc:sldMasterChg chg="del delSldLayout">
        <pc:chgData name="Susan Bielmann" userId="a79a17f1-673e-4f39-a691-ea29e35682b9" providerId="ADAL" clId="{7C49D249-95B9-4086-B80C-823AAFCB17E8}" dt="2023-11-29T13:56:38.846" v="1375" actId="2696"/>
        <pc:sldMasterMkLst>
          <pc:docMk/>
          <pc:sldMasterMk cId="213990945" sldId="2147483706"/>
        </pc:sldMasterMkLst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3956021048" sldId="2147483707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795500338" sldId="2147483708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844448890" sldId="2147483709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3745483864" sldId="2147483710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370652720" sldId="2147483711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3289855980" sldId="2147483712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130978205" sldId="2147483713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3273111745" sldId="2147483714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495033383" sldId="2147483715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2156919233" sldId="2147483716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2345985125" sldId="2147483717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467470746" sldId="2147483718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574443662" sldId="2147483719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784199777" sldId="2147483720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900797247" sldId="2147483721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2222526610" sldId="2147483722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1166953074" sldId="2147483723"/>
          </pc:sldLayoutMkLst>
        </pc:sldLayoutChg>
        <pc:sldLayoutChg chg="del">
          <pc:chgData name="Susan Bielmann" userId="a79a17f1-673e-4f39-a691-ea29e35682b9" providerId="ADAL" clId="{7C49D249-95B9-4086-B80C-823AAFCB17E8}" dt="2023-11-29T13:56:38.846" v="1375" actId="2696"/>
          <pc:sldLayoutMkLst>
            <pc:docMk/>
            <pc:sldMasterMk cId="213990945" sldId="2147483706"/>
            <pc:sldLayoutMk cId="4249847458" sldId="2147483724"/>
          </pc:sldLayoutMkLst>
        </pc:sldLayoutChg>
      </pc:sldMasterChg>
    </pc:docChg>
  </pc:docChgLst>
  <pc:docChgLst>
    <pc:chgData name="Susan Bielmann" userId="a79a17f1-673e-4f39-a691-ea29e35682b9" providerId="ADAL" clId="{2DF94732-A6AD-4C0D-B1F8-8DE95D4446AB}"/>
    <pc:docChg chg="undo custSel delSld modSld">
      <pc:chgData name="Susan Bielmann" userId="a79a17f1-673e-4f39-a691-ea29e35682b9" providerId="ADAL" clId="{2DF94732-A6AD-4C0D-B1F8-8DE95D4446AB}" dt="2022-11-29T11:05:06.630" v="821" actId="20577"/>
      <pc:docMkLst>
        <pc:docMk/>
      </pc:docMkLst>
      <pc:sldChg chg="modSp mod">
        <pc:chgData name="Susan Bielmann" userId="a79a17f1-673e-4f39-a691-ea29e35682b9" providerId="ADAL" clId="{2DF94732-A6AD-4C0D-B1F8-8DE95D4446AB}" dt="2022-11-29T10:17:16.866" v="9" actId="20577"/>
        <pc:sldMkLst>
          <pc:docMk/>
          <pc:sldMk cId="0" sldId="262"/>
        </pc:sldMkLst>
        <pc:spChg chg="mod">
          <ac:chgData name="Susan Bielmann" userId="a79a17f1-673e-4f39-a691-ea29e35682b9" providerId="ADAL" clId="{2DF94732-A6AD-4C0D-B1F8-8DE95D4446AB}" dt="2022-11-29T10:17:07.207" v="3" actId="20577"/>
          <ac:spMkLst>
            <pc:docMk/>
            <pc:sldMk cId="0" sldId="262"/>
            <ac:spMk id="5" creationId="{00000000-0000-0000-0000-000000000000}"/>
          </ac:spMkLst>
        </pc:spChg>
        <pc:spChg chg="mod">
          <ac:chgData name="Susan Bielmann" userId="a79a17f1-673e-4f39-a691-ea29e35682b9" providerId="ADAL" clId="{2DF94732-A6AD-4C0D-B1F8-8DE95D4446AB}" dt="2022-11-29T10:17:16.866" v="9" actId="20577"/>
          <ac:spMkLst>
            <pc:docMk/>
            <pc:sldMk cId="0" sldId="262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58:24.283" v="799" actId="255"/>
        <pc:sldMkLst>
          <pc:docMk/>
          <pc:sldMk cId="0" sldId="300"/>
        </pc:sldMkLst>
        <pc:spChg chg="mod">
          <ac:chgData name="Susan Bielmann" userId="a79a17f1-673e-4f39-a691-ea29e35682b9" providerId="ADAL" clId="{2DF94732-A6AD-4C0D-B1F8-8DE95D4446AB}" dt="2022-11-29T10:58:24.283" v="799" actId="255"/>
          <ac:spMkLst>
            <pc:docMk/>
            <pc:sldMk cId="0" sldId="300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17:42.377" v="13" actId="20577"/>
        <pc:sldMkLst>
          <pc:docMk/>
          <pc:sldMk cId="546188594" sldId="317"/>
        </pc:sldMkLst>
        <pc:spChg chg="mod">
          <ac:chgData name="Susan Bielmann" userId="a79a17f1-673e-4f39-a691-ea29e35682b9" providerId="ADAL" clId="{2DF94732-A6AD-4C0D-B1F8-8DE95D4446AB}" dt="2022-11-29T10:17:42.377" v="13" actId="20577"/>
          <ac:spMkLst>
            <pc:docMk/>
            <pc:sldMk cId="546188594" sldId="317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36:11.969" v="167" actId="20577"/>
        <pc:sldMkLst>
          <pc:docMk/>
          <pc:sldMk cId="2281574707" sldId="318"/>
        </pc:sldMkLst>
        <pc:spChg chg="mod">
          <ac:chgData name="Susan Bielmann" userId="a79a17f1-673e-4f39-a691-ea29e35682b9" providerId="ADAL" clId="{2DF94732-A6AD-4C0D-B1F8-8DE95D4446AB}" dt="2022-11-29T10:35:48.131" v="166" actId="20577"/>
          <ac:spMkLst>
            <pc:docMk/>
            <pc:sldMk cId="2281574707" sldId="318"/>
            <ac:spMk id="6" creationId="{00000000-0000-0000-0000-000000000000}"/>
          </ac:spMkLst>
        </pc:spChg>
        <pc:spChg chg="mod">
          <ac:chgData name="Susan Bielmann" userId="a79a17f1-673e-4f39-a691-ea29e35682b9" providerId="ADAL" clId="{2DF94732-A6AD-4C0D-B1F8-8DE95D4446AB}" dt="2022-11-29T10:36:11.969" v="167" actId="20577"/>
          <ac:spMkLst>
            <pc:docMk/>
            <pc:sldMk cId="2281574707" sldId="318"/>
            <ac:spMk id="7" creationId="{00000000-0000-0000-0000-000000000000}"/>
          </ac:spMkLst>
        </pc:spChg>
      </pc:sldChg>
      <pc:sldChg chg="addSp delSp modSp mod">
        <pc:chgData name="Susan Bielmann" userId="a79a17f1-673e-4f39-a691-ea29e35682b9" providerId="ADAL" clId="{2DF94732-A6AD-4C0D-B1F8-8DE95D4446AB}" dt="2022-11-29T10:32:10.671" v="110" actId="948"/>
        <pc:sldMkLst>
          <pc:docMk/>
          <pc:sldMk cId="3424164304" sldId="319"/>
        </pc:sldMkLst>
        <pc:spChg chg="mod">
          <ac:chgData name="Susan Bielmann" userId="a79a17f1-673e-4f39-a691-ea29e35682b9" providerId="ADAL" clId="{2DF94732-A6AD-4C0D-B1F8-8DE95D4446AB}" dt="2022-11-29T10:32:10.671" v="110" actId="948"/>
          <ac:spMkLst>
            <pc:docMk/>
            <pc:sldMk cId="3424164304" sldId="319"/>
            <ac:spMk id="6" creationId="{00000000-0000-0000-0000-000000000000}"/>
          </ac:spMkLst>
        </pc:spChg>
        <pc:inkChg chg="add del">
          <ac:chgData name="Susan Bielmann" userId="a79a17f1-673e-4f39-a691-ea29e35682b9" providerId="ADAL" clId="{2DF94732-A6AD-4C0D-B1F8-8DE95D4446AB}" dt="2022-11-29T10:26:10.367" v="36"/>
          <ac:inkMkLst>
            <pc:docMk/>
            <pc:sldMk cId="3424164304" sldId="319"/>
            <ac:inkMk id="2" creationId="{87FE89E6-DAAA-521C-012B-CAFEC9F7FC5E}"/>
          </ac:inkMkLst>
        </pc:inkChg>
        <pc:inkChg chg="add del">
          <ac:chgData name="Susan Bielmann" userId="a79a17f1-673e-4f39-a691-ea29e35682b9" providerId="ADAL" clId="{2DF94732-A6AD-4C0D-B1F8-8DE95D4446AB}" dt="2022-11-29T10:26:11.414" v="37"/>
          <ac:inkMkLst>
            <pc:docMk/>
            <pc:sldMk cId="3424164304" sldId="319"/>
            <ac:inkMk id="3" creationId="{6CC04252-667B-D5F2-67F9-A16EBE679B47}"/>
          </ac:inkMkLst>
        </pc:inkChg>
      </pc:sldChg>
      <pc:sldChg chg="modSp mod">
        <pc:chgData name="Susan Bielmann" userId="a79a17f1-673e-4f39-a691-ea29e35682b9" providerId="ADAL" clId="{2DF94732-A6AD-4C0D-B1F8-8DE95D4446AB}" dt="2022-11-29T10:34:33.720" v="155" actId="20577"/>
        <pc:sldMkLst>
          <pc:docMk/>
          <pc:sldMk cId="2213312992" sldId="320"/>
        </pc:sldMkLst>
        <pc:spChg chg="mod">
          <ac:chgData name="Susan Bielmann" userId="a79a17f1-673e-4f39-a691-ea29e35682b9" providerId="ADAL" clId="{2DF94732-A6AD-4C0D-B1F8-8DE95D4446AB}" dt="2022-11-29T10:34:33.720" v="155" actId="20577"/>
          <ac:spMkLst>
            <pc:docMk/>
            <pc:sldMk cId="2213312992" sldId="320"/>
            <ac:spMk id="5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37:53.788" v="182" actId="255"/>
        <pc:sldMkLst>
          <pc:docMk/>
          <pc:sldMk cId="2380718918" sldId="321"/>
        </pc:sldMkLst>
        <pc:spChg chg="mod">
          <ac:chgData name="Susan Bielmann" userId="a79a17f1-673e-4f39-a691-ea29e35682b9" providerId="ADAL" clId="{2DF94732-A6AD-4C0D-B1F8-8DE95D4446AB}" dt="2022-11-29T10:37:53.788" v="182" actId="255"/>
          <ac:spMkLst>
            <pc:docMk/>
            <pc:sldMk cId="2380718918" sldId="321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39:14.041" v="197" actId="20577"/>
        <pc:sldMkLst>
          <pc:docMk/>
          <pc:sldMk cId="914962679" sldId="322"/>
        </pc:sldMkLst>
        <pc:spChg chg="mod">
          <ac:chgData name="Susan Bielmann" userId="a79a17f1-673e-4f39-a691-ea29e35682b9" providerId="ADAL" clId="{2DF94732-A6AD-4C0D-B1F8-8DE95D4446AB}" dt="2022-11-29T10:39:14.041" v="197" actId="20577"/>
          <ac:spMkLst>
            <pc:docMk/>
            <pc:sldMk cId="914962679" sldId="322"/>
            <ac:spMk id="5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40:40.301" v="213" actId="20577"/>
        <pc:sldMkLst>
          <pc:docMk/>
          <pc:sldMk cId="17091957" sldId="323"/>
        </pc:sldMkLst>
        <pc:spChg chg="mod">
          <ac:chgData name="Susan Bielmann" userId="a79a17f1-673e-4f39-a691-ea29e35682b9" providerId="ADAL" clId="{2DF94732-A6AD-4C0D-B1F8-8DE95D4446AB}" dt="2022-11-29T10:40:40.301" v="213" actId="20577"/>
          <ac:spMkLst>
            <pc:docMk/>
            <pc:sldMk cId="17091957" sldId="323"/>
            <ac:spMk id="5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42:32.722" v="214" actId="20577"/>
        <pc:sldMkLst>
          <pc:docMk/>
          <pc:sldMk cId="2790990060" sldId="328"/>
        </pc:sldMkLst>
        <pc:spChg chg="mod">
          <ac:chgData name="Susan Bielmann" userId="a79a17f1-673e-4f39-a691-ea29e35682b9" providerId="ADAL" clId="{2DF94732-A6AD-4C0D-B1F8-8DE95D4446AB}" dt="2022-11-29T10:42:32.722" v="214" actId="20577"/>
          <ac:spMkLst>
            <pc:docMk/>
            <pc:sldMk cId="2790990060" sldId="328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43:14.932" v="222" actId="20577"/>
        <pc:sldMkLst>
          <pc:docMk/>
          <pc:sldMk cId="1153073707" sldId="330"/>
        </pc:sldMkLst>
        <pc:spChg chg="mod">
          <ac:chgData name="Susan Bielmann" userId="a79a17f1-673e-4f39-a691-ea29e35682b9" providerId="ADAL" clId="{2DF94732-A6AD-4C0D-B1F8-8DE95D4446AB}" dt="2022-11-29T10:43:14.932" v="222" actId="20577"/>
          <ac:spMkLst>
            <pc:docMk/>
            <pc:sldMk cId="1153073707" sldId="330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53:22.340" v="513" actId="13926"/>
        <pc:sldMkLst>
          <pc:docMk/>
          <pc:sldMk cId="3096691638" sldId="331"/>
        </pc:sldMkLst>
        <pc:spChg chg="mod">
          <ac:chgData name="Susan Bielmann" userId="a79a17f1-673e-4f39-a691-ea29e35682b9" providerId="ADAL" clId="{2DF94732-A6AD-4C0D-B1F8-8DE95D4446AB}" dt="2022-11-29T10:53:22.340" v="513" actId="13926"/>
          <ac:spMkLst>
            <pc:docMk/>
            <pc:sldMk cId="3096691638" sldId="331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0:59:16.543" v="802" actId="207"/>
        <pc:sldMkLst>
          <pc:docMk/>
          <pc:sldMk cId="2608956230" sldId="334"/>
        </pc:sldMkLst>
        <pc:spChg chg="mod">
          <ac:chgData name="Susan Bielmann" userId="a79a17f1-673e-4f39-a691-ea29e35682b9" providerId="ADAL" clId="{2DF94732-A6AD-4C0D-B1F8-8DE95D4446AB}" dt="2022-11-29T10:59:16.543" v="802" actId="207"/>
          <ac:spMkLst>
            <pc:docMk/>
            <pc:sldMk cId="2608956230" sldId="334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1:04:08.492" v="817" actId="20577"/>
        <pc:sldMkLst>
          <pc:docMk/>
          <pc:sldMk cId="901006481" sldId="335"/>
        </pc:sldMkLst>
        <pc:spChg chg="mod">
          <ac:chgData name="Susan Bielmann" userId="a79a17f1-673e-4f39-a691-ea29e35682b9" providerId="ADAL" clId="{2DF94732-A6AD-4C0D-B1F8-8DE95D4446AB}" dt="2022-11-29T11:04:08.492" v="817" actId="20577"/>
          <ac:spMkLst>
            <pc:docMk/>
            <pc:sldMk cId="901006481" sldId="335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2DF94732-A6AD-4C0D-B1F8-8DE95D4446AB}" dt="2022-11-29T11:05:06.630" v="821" actId="20577"/>
        <pc:sldMkLst>
          <pc:docMk/>
          <pc:sldMk cId="2030669535" sldId="337"/>
        </pc:sldMkLst>
        <pc:spChg chg="mod">
          <ac:chgData name="Susan Bielmann" userId="a79a17f1-673e-4f39-a691-ea29e35682b9" providerId="ADAL" clId="{2DF94732-A6AD-4C0D-B1F8-8DE95D4446AB}" dt="2022-11-29T11:05:06.630" v="821" actId="20577"/>
          <ac:spMkLst>
            <pc:docMk/>
            <pc:sldMk cId="2030669535" sldId="337"/>
            <ac:spMk id="7" creationId="{00000000-0000-0000-0000-000000000000}"/>
          </ac:spMkLst>
        </pc:spChg>
      </pc:sldChg>
      <pc:sldChg chg="del">
        <pc:chgData name="Susan Bielmann" userId="a79a17f1-673e-4f39-a691-ea29e35682b9" providerId="ADAL" clId="{2DF94732-A6AD-4C0D-B1F8-8DE95D4446AB}" dt="2022-11-29T10:58:48.158" v="800" actId="2696"/>
        <pc:sldMkLst>
          <pc:docMk/>
          <pc:sldMk cId="1161683088" sldId="338"/>
        </pc:sldMkLst>
      </pc:sldChg>
      <pc:sldChg chg="addSp delSp modSp mod">
        <pc:chgData name="Susan Bielmann" userId="a79a17f1-673e-4f39-a691-ea29e35682b9" providerId="ADAL" clId="{2DF94732-A6AD-4C0D-B1F8-8DE95D4446AB}" dt="2022-11-29T10:25:23.641" v="33" actId="9405"/>
        <pc:sldMkLst>
          <pc:docMk/>
          <pc:sldMk cId="2980117968" sldId="342"/>
        </pc:sldMkLst>
        <pc:spChg chg="mod">
          <ac:chgData name="Susan Bielmann" userId="a79a17f1-673e-4f39-a691-ea29e35682b9" providerId="ADAL" clId="{2DF94732-A6AD-4C0D-B1F8-8DE95D4446AB}" dt="2022-11-29T10:19:50.981" v="22" actId="255"/>
          <ac:spMkLst>
            <pc:docMk/>
            <pc:sldMk cId="2980117968" sldId="342"/>
            <ac:spMk id="5" creationId="{00000000-0000-0000-0000-000000000000}"/>
          </ac:spMkLst>
        </pc:spChg>
        <pc:spChg chg="add del">
          <ac:chgData name="Susan Bielmann" userId="a79a17f1-673e-4f39-a691-ea29e35682b9" providerId="ADAL" clId="{2DF94732-A6AD-4C0D-B1F8-8DE95D4446AB}" dt="2022-11-29T10:23:42.466" v="30" actId="478"/>
          <ac:spMkLst>
            <pc:docMk/>
            <pc:sldMk cId="2980117968" sldId="342"/>
            <ac:spMk id="9" creationId="{F9594C97-84A4-C85E-96CE-847F1B1ED5A0}"/>
          </ac:spMkLst>
        </pc:spChg>
        <pc:inkChg chg="add del">
          <ac:chgData name="Susan Bielmann" userId="a79a17f1-673e-4f39-a691-ea29e35682b9" providerId="ADAL" clId="{2DF94732-A6AD-4C0D-B1F8-8DE95D4446AB}" dt="2022-11-29T10:20:48.890" v="26" actId="9405"/>
          <ac:inkMkLst>
            <pc:docMk/>
            <pc:sldMk cId="2980117968" sldId="342"/>
            <ac:inkMk id="2" creationId="{D23CD6F5-D81D-6EB0-4580-4E91B8C6716F}"/>
          </ac:inkMkLst>
        </pc:inkChg>
        <pc:inkChg chg="add del">
          <ac:chgData name="Susan Bielmann" userId="a79a17f1-673e-4f39-a691-ea29e35682b9" providerId="ADAL" clId="{2DF94732-A6AD-4C0D-B1F8-8DE95D4446AB}" dt="2022-11-29T10:20:48.250" v="25" actId="9405"/>
          <ac:inkMkLst>
            <pc:docMk/>
            <pc:sldMk cId="2980117968" sldId="342"/>
            <ac:inkMk id="3" creationId="{27AE6BD8-C9A7-140E-5D89-3F624C3DBD66}"/>
          </ac:inkMkLst>
        </pc:inkChg>
        <pc:inkChg chg="add del">
          <ac:chgData name="Susan Bielmann" userId="a79a17f1-673e-4f39-a691-ea29e35682b9" providerId="ADAL" clId="{2DF94732-A6AD-4C0D-B1F8-8DE95D4446AB}" dt="2022-11-29T10:23:54.881" v="31"/>
          <ac:inkMkLst>
            <pc:docMk/>
            <pc:sldMk cId="2980117968" sldId="342"/>
            <ac:inkMk id="6" creationId="{7222D60A-C6EF-EA26-B44D-5ED796C1454A}"/>
          </ac:inkMkLst>
        </pc:inkChg>
        <pc:inkChg chg="add">
          <ac:chgData name="Susan Bielmann" userId="a79a17f1-673e-4f39-a691-ea29e35682b9" providerId="ADAL" clId="{2DF94732-A6AD-4C0D-B1F8-8DE95D4446AB}" dt="2022-11-29T10:25:15.298" v="32" actId="9405"/>
          <ac:inkMkLst>
            <pc:docMk/>
            <pc:sldMk cId="2980117968" sldId="342"/>
            <ac:inkMk id="11" creationId="{53C92666-F238-86D6-9695-22FFC5D27850}"/>
          </ac:inkMkLst>
        </pc:inkChg>
        <pc:inkChg chg="add">
          <ac:chgData name="Susan Bielmann" userId="a79a17f1-673e-4f39-a691-ea29e35682b9" providerId="ADAL" clId="{2DF94732-A6AD-4C0D-B1F8-8DE95D4446AB}" dt="2022-11-29T10:25:23.641" v="33" actId="9405"/>
          <ac:inkMkLst>
            <pc:docMk/>
            <pc:sldMk cId="2980117968" sldId="342"/>
            <ac:inkMk id="12" creationId="{CC185C8C-77D9-976D-53DE-0BF30B384C79}"/>
          </ac:inkMkLst>
        </pc:inkChg>
        <pc:cxnChg chg="mod">
          <ac:chgData name="Susan Bielmann" userId="a79a17f1-673e-4f39-a691-ea29e35682b9" providerId="ADAL" clId="{2DF94732-A6AD-4C0D-B1F8-8DE95D4446AB}" dt="2022-11-29T10:23:34.519" v="29" actId="13822"/>
          <ac:cxnSpMkLst>
            <pc:docMk/>
            <pc:sldMk cId="2980117968" sldId="342"/>
            <ac:cxnSpMk id="10" creationId="{00000000-0000-0000-0000-000000000000}"/>
          </ac:cxnSpMkLst>
        </pc:cxnChg>
      </pc:sldChg>
    </pc:docChg>
  </pc:docChgLst>
  <pc:docChgLst>
    <pc:chgData name="Susan Bielmann" userId="a79a17f1-673e-4f39-a691-ea29e35682b9" providerId="ADAL" clId="{970A37D6-B23D-4479-90ED-1CB844107D1F}"/>
    <pc:docChg chg="undo custSel addSld delSld modSld modNotesMaster modHandout">
      <pc:chgData name="Susan Bielmann" userId="a79a17f1-673e-4f39-a691-ea29e35682b9" providerId="ADAL" clId="{970A37D6-B23D-4479-90ED-1CB844107D1F}" dt="2024-11-29T15:06:48.704" v="2515" actId="948"/>
      <pc:docMkLst>
        <pc:docMk/>
      </pc:docMkLst>
      <pc:sldChg chg="modSp mod">
        <pc:chgData name="Susan Bielmann" userId="a79a17f1-673e-4f39-a691-ea29e35682b9" providerId="ADAL" clId="{970A37D6-B23D-4479-90ED-1CB844107D1F}" dt="2024-11-26T14:05:54.814" v="20" actId="20577"/>
        <pc:sldMkLst>
          <pc:docMk/>
          <pc:sldMk cId="0" sldId="262"/>
        </pc:sldMkLst>
        <pc:spChg chg="mod">
          <ac:chgData name="Susan Bielmann" userId="a79a17f1-673e-4f39-a691-ea29e35682b9" providerId="ADAL" clId="{970A37D6-B23D-4479-90ED-1CB844107D1F}" dt="2024-11-26T14:05:32.666" v="3" actId="20577"/>
          <ac:spMkLst>
            <pc:docMk/>
            <pc:sldMk cId="0" sldId="262"/>
            <ac:spMk id="5" creationId="{00000000-0000-0000-0000-000000000000}"/>
          </ac:spMkLst>
        </pc:spChg>
        <pc:spChg chg="mod">
          <ac:chgData name="Susan Bielmann" userId="a79a17f1-673e-4f39-a691-ea29e35682b9" providerId="ADAL" clId="{970A37D6-B23D-4479-90ED-1CB844107D1F}" dt="2024-11-26T14:05:54.814" v="20" actId="20577"/>
          <ac:spMkLst>
            <pc:docMk/>
            <pc:sldMk cId="0" sldId="262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05:40.431" v="1299" actId="20577"/>
        <pc:sldMkLst>
          <pc:docMk/>
          <pc:sldMk cId="0" sldId="300"/>
        </pc:sldMkLst>
        <pc:spChg chg="mod">
          <ac:chgData name="Susan Bielmann" userId="a79a17f1-673e-4f39-a691-ea29e35682b9" providerId="ADAL" clId="{970A37D6-B23D-4479-90ED-1CB844107D1F}" dt="2024-11-26T15:05:40.431" v="1299" actId="20577"/>
          <ac:spMkLst>
            <pc:docMk/>
            <pc:sldMk cId="0" sldId="300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07:13.688" v="23" actId="207"/>
        <pc:sldMkLst>
          <pc:docMk/>
          <pc:sldMk cId="2281574707" sldId="318"/>
        </pc:sldMkLst>
        <pc:spChg chg="mod">
          <ac:chgData name="Susan Bielmann" userId="a79a17f1-673e-4f39-a691-ea29e35682b9" providerId="ADAL" clId="{970A37D6-B23D-4479-90ED-1CB844107D1F}" dt="2024-11-26T14:07:13.688" v="23" actId="207"/>
          <ac:spMkLst>
            <pc:docMk/>
            <pc:sldMk cId="2281574707" sldId="318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19:05.368" v="75" actId="20577"/>
        <pc:sldMkLst>
          <pc:docMk/>
          <pc:sldMk cId="914962679" sldId="322"/>
        </pc:sldMkLst>
        <pc:spChg chg="mod">
          <ac:chgData name="Susan Bielmann" userId="a79a17f1-673e-4f39-a691-ea29e35682b9" providerId="ADAL" clId="{970A37D6-B23D-4479-90ED-1CB844107D1F}" dt="2024-11-26T14:19:05.368" v="75" actId="20577"/>
          <ac:spMkLst>
            <pc:docMk/>
            <pc:sldMk cId="914962679" sldId="322"/>
            <ac:spMk id="5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19:37.441" v="78" actId="20577"/>
        <pc:sldMkLst>
          <pc:docMk/>
          <pc:sldMk cId="17091957" sldId="323"/>
        </pc:sldMkLst>
        <pc:spChg chg="mod">
          <ac:chgData name="Susan Bielmann" userId="a79a17f1-673e-4f39-a691-ea29e35682b9" providerId="ADAL" clId="{970A37D6-B23D-4479-90ED-1CB844107D1F}" dt="2024-11-26T14:19:37.441" v="78" actId="20577"/>
          <ac:spMkLst>
            <pc:docMk/>
            <pc:sldMk cId="17091957" sldId="323"/>
            <ac:spMk id="5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28:57.138" v="187" actId="20577"/>
        <pc:sldMkLst>
          <pc:docMk/>
          <pc:sldMk cId="4182660791" sldId="324"/>
        </pc:sldMkLst>
        <pc:spChg chg="mod">
          <ac:chgData name="Susan Bielmann" userId="a79a17f1-673e-4f39-a691-ea29e35682b9" providerId="ADAL" clId="{970A37D6-B23D-4479-90ED-1CB844107D1F}" dt="2024-11-26T14:28:57.138" v="187" actId="20577"/>
          <ac:spMkLst>
            <pc:docMk/>
            <pc:sldMk cId="4182660791" sldId="324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39:06.663" v="573" actId="113"/>
        <pc:sldMkLst>
          <pc:docMk/>
          <pc:sldMk cId="1799289619" sldId="326"/>
        </pc:sldMkLst>
        <pc:spChg chg="mod">
          <ac:chgData name="Susan Bielmann" userId="a79a17f1-673e-4f39-a691-ea29e35682b9" providerId="ADAL" clId="{970A37D6-B23D-4479-90ED-1CB844107D1F}" dt="2024-11-26T14:39:06.663" v="573" actId="113"/>
          <ac:spMkLst>
            <pc:docMk/>
            <pc:sldMk cId="1799289619" sldId="326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55:40.735" v="1078" actId="20577"/>
        <pc:sldMkLst>
          <pc:docMk/>
          <pc:sldMk cId="1907628092" sldId="327"/>
        </pc:sldMkLst>
        <pc:spChg chg="mod">
          <ac:chgData name="Susan Bielmann" userId="a79a17f1-673e-4f39-a691-ea29e35682b9" providerId="ADAL" clId="{970A37D6-B23D-4479-90ED-1CB844107D1F}" dt="2024-11-26T14:54:39.001" v="1052" actId="1076"/>
          <ac:spMkLst>
            <pc:docMk/>
            <pc:sldMk cId="1907628092" sldId="327"/>
            <ac:spMk id="5" creationId="{00000000-0000-0000-0000-000000000000}"/>
          </ac:spMkLst>
        </pc:spChg>
        <pc:spChg chg="mod">
          <ac:chgData name="Susan Bielmann" userId="a79a17f1-673e-4f39-a691-ea29e35682b9" providerId="ADAL" clId="{970A37D6-B23D-4479-90ED-1CB844107D1F}" dt="2024-11-26T14:55:40.735" v="1078" actId="20577"/>
          <ac:spMkLst>
            <pc:docMk/>
            <pc:sldMk cId="1907628092" sldId="327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59:11.498" v="1156" actId="14100"/>
        <pc:sldMkLst>
          <pc:docMk/>
          <pc:sldMk cId="2790990060" sldId="328"/>
        </pc:sldMkLst>
        <pc:spChg chg="mod">
          <ac:chgData name="Susan Bielmann" userId="a79a17f1-673e-4f39-a691-ea29e35682b9" providerId="ADAL" clId="{970A37D6-B23D-4479-90ED-1CB844107D1F}" dt="2024-11-26T14:59:11.498" v="1156" actId="14100"/>
          <ac:spMkLst>
            <pc:docMk/>
            <pc:sldMk cId="2790990060" sldId="328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00:07.137" v="1157" actId="20577"/>
        <pc:sldMkLst>
          <pc:docMk/>
          <pc:sldMk cId="2342500704" sldId="329"/>
        </pc:sldMkLst>
        <pc:spChg chg="mod">
          <ac:chgData name="Susan Bielmann" userId="a79a17f1-673e-4f39-a691-ea29e35682b9" providerId="ADAL" clId="{970A37D6-B23D-4479-90ED-1CB844107D1F}" dt="2024-11-26T15:00:07.137" v="1157" actId="20577"/>
          <ac:spMkLst>
            <pc:docMk/>
            <pc:sldMk cId="2342500704" sldId="329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01:42.910" v="1168" actId="20577"/>
        <pc:sldMkLst>
          <pc:docMk/>
          <pc:sldMk cId="1153073707" sldId="330"/>
        </pc:sldMkLst>
        <pc:spChg chg="mod">
          <ac:chgData name="Susan Bielmann" userId="a79a17f1-673e-4f39-a691-ea29e35682b9" providerId="ADAL" clId="{970A37D6-B23D-4479-90ED-1CB844107D1F}" dt="2024-11-26T15:01:42.910" v="1168" actId="20577"/>
          <ac:spMkLst>
            <pc:docMk/>
            <pc:sldMk cId="1153073707" sldId="330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03:29.002" v="1227" actId="20577"/>
        <pc:sldMkLst>
          <pc:docMk/>
          <pc:sldMk cId="3096691638" sldId="331"/>
        </pc:sldMkLst>
        <pc:spChg chg="mod">
          <ac:chgData name="Susan Bielmann" userId="a79a17f1-673e-4f39-a691-ea29e35682b9" providerId="ADAL" clId="{970A37D6-B23D-4479-90ED-1CB844107D1F}" dt="2024-11-26T15:03:29.002" v="1227" actId="20577"/>
          <ac:spMkLst>
            <pc:docMk/>
            <pc:sldMk cId="3096691638" sldId="331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9T15:06:48.704" v="2515" actId="948"/>
        <pc:sldMkLst>
          <pc:docMk/>
          <pc:sldMk cId="2608956230" sldId="334"/>
        </pc:sldMkLst>
        <pc:spChg chg="mod">
          <ac:chgData name="Susan Bielmann" userId="a79a17f1-673e-4f39-a691-ea29e35682b9" providerId="ADAL" clId="{970A37D6-B23D-4479-90ED-1CB844107D1F}" dt="2024-11-29T15:06:48.704" v="2515" actId="948"/>
          <ac:spMkLst>
            <pc:docMk/>
            <pc:sldMk cId="2608956230" sldId="334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32:05.658" v="1471" actId="20577"/>
        <pc:sldMkLst>
          <pc:docMk/>
          <pc:sldMk cId="901006481" sldId="335"/>
        </pc:sldMkLst>
        <pc:spChg chg="mod">
          <ac:chgData name="Susan Bielmann" userId="a79a17f1-673e-4f39-a691-ea29e35682b9" providerId="ADAL" clId="{970A37D6-B23D-4479-90ED-1CB844107D1F}" dt="2024-11-26T15:32:05.658" v="1471" actId="20577"/>
          <ac:spMkLst>
            <pc:docMk/>
            <pc:sldMk cId="901006481" sldId="335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48:41.361" v="1902" actId="20577"/>
        <pc:sldMkLst>
          <pc:docMk/>
          <pc:sldMk cId="2030669535" sldId="337"/>
        </pc:sldMkLst>
        <pc:spChg chg="mod">
          <ac:chgData name="Susan Bielmann" userId="a79a17f1-673e-4f39-a691-ea29e35682b9" providerId="ADAL" clId="{970A37D6-B23D-4479-90ED-1CB844107D1F}" dt="2024-11-26T15:48:41.361" v="1902" actId="20577"/>
          <ac:spMkLst>
            <pc:docMk/>
            <pc:sldMk cId="2030669535" sldId="337"/>
            <ac:spMk id="7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5:48:55.084" v="1912" actId="20577"/>
        <pc:sldMkLst>
          <pc:docMk/>
          <pc:sldMk cId="239822648" sldId="339"/>
        </pc:sldMkLst>
        <pc:spChg chg="mod">
          <ac:chgData name="Susan Bielmann" userId="a79a17f1-673e-4f39-a691-ea29e35682b9" providerId="ADAL" clId="{970A37D6-B23D-4479-90ED-1CB844107D1F}" dt="2024-11-26T15:48:55.084" v="1912" actId="20577"/>
          <ac:spMkLst>
            <pc:docMk/>
            <pc:sldMk cId="239822648" sldId="339"/>
            <ac:spMk id="3" creationId="{00000000-0000-0000-0000-000000000000}"/>
          </ac:spMkLst>
        </pc:spChg>
      </pc:sldChg>
      <pc:sldChg chg="del">
        <pc:chgData name="Susan Bielmann" userId="a79a17f1-673e-4f39-a691-ea29e35682b9" providerId="ADAL" clId="{970A37D6-B23D-4479-90ED-1CB844107D1F}" dt="2024-11-26T14:40:17.947" v="574" actId="2696"/>
        <pc:sldMkLst>
          <pc:docMk/>
          <pc:sldMk cId="1588713514" sldId="340"/>
        </pc:sldMkLst>
      </pc:sldChg>
      <pc:sldChg chg="modSp mod">
        <pc:chgData name="Susan Bielmann" userId="a79a17f1-673e-4f39-a691-ea29e35682b9" providerId="ADAL" clId="{970A37D6-B23D-4479-90ED-1CB844107D1F}" dt="2024-11-26T14:09:50.843" v="56" actId="14100"/>
        <pc:sldMkLst>
          <pc:docMk/>
          <pc:sldMk cId="2980117968" sldId="342"/>
        </pc:sldMkLst>
        <pc:spChg chg="mod">
          <ac:chgData name="Susan Bielmann" userId="a79a17f1-673e-4f39-a691-ea29e35682b9" providerId="ADAL" clId="{970A37D6-B23D-4479-90ED-1CB844107D1F}" dt="2024-11-26T14:09:50.843" v="56" actId="14100"/>
          <ac:spMkLst>
            <pc:docMk/>
            <pc:sldMk cId="2980117968" sldId="342"/>
            <ac:spMk id="5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18:26.364" v="72" actId="20577"/>
        <pc:sldMkLst>
          <pc:docMk/>
          <pc:sldMk cId="1988957518" sldId="343"/>
        </pc:sldMkLst>
        <pc:spChg chg="mod">
          <ac:chgData name="Susan Bielmann" userId="a79a17f1-673e-4f39-a691-ea29e35682b9" providerId="ADAL" clId="{970A37D6-B23D-4479-90ED-1CB844107D1F}" dt="2024-11-26T14:18:26.364" v="72" actId="20577"/>
          <ac:spMkLst>
            <pc:docMk/>
            <pc:sldMk cId="1988957518" sldId="343"/>
            <ac:spMk id="6" creationId="{00000000-0000-0000-0000-000000000000}"/>
          </ac:spMkLst>
        </pc:spChg>
      </pc:sldChg>
      <pc:sldChg chg="modSp mod">
        <pc:chgData name="Susan Bielmann" userId="a79a17f1-673e-4f39-a691-ea29e35682b9" providerId="ADAL" clId="{970A37D6-B23D-4479-90ED-1CB844107D1F}" dt="2024-11-26T14:43:19.905" v="719" actId="20577"/>
        <pc:sldMkLst>
          <pc:docMk/>
          <pc:sldMk cId="576211387" sldId="344"/>
        </pc:sldMkLst>
        <pc:spChg chg="mod">
          <ac:chgData name="Susan Bielmann" userId="a79a17f1-673e-4f39-a691-ea29e35682b9" providerId="ADAL" clId="{970A37D6-B23D-4479-90ED-1CB844107D1F}" dt="2024-11-26T14:43:19.905" v="719" actId="20577"/>
          <ac:spMkLst>
            <pc:docMk/>
            <pc:sldMk cId="576211387" sldId="344"/>
            <ac:spMk id="3" creationId="{F54C3AC7-D181-44FF-F564-6888646F20FC}"/>
          </ac:spMkLst>
        </pc:spChg>
      </pc:sldChg>
      <pc:sldChg chg="modSp mod">
        <pc:chgData name="Susan Bielmann" userId="a79a17f1-673e-4f39-a691-ea29e35682b9" providerId="ADAL" clId="{970A37D6-B23D-4479-90ED-1CB844107D1F}" dt="2024-11-26T14:49:44.661" v="898" actId="255"/>
        <pc:sldMkLst>
          <pc:docMk/>
          <pc:sldMk cId="181493658" sldId="345"/>
        </pc:sldMkLst>
        <pc:spChg chg="mod">
          <ac:chgData name="Susan Bielmann" userId="a79a17f1-673e-4f39-a691-ea29e35682b9" providerId="ADAL" clId="{970A37D6-B23D-4479-90ED-1CB844107D1F}" dt="2024-11-26T14:49:44.661" v="898" actId="255"/>
          <ac:spMkLst>
            <pc:docMk/>
            <pc:sldMk cId="181493658" sldId="345"/>
            <ac:spMk id="3" creationId="{F0A7050E-9E82-4E6D-8FBE-B954EAA1489F}"/>
          </ac:spMkLst>
        </pc:spChg>
      </pc:sldChg>
      <pc:sldChg chg="modSp mod">
        <pc:chgData name="Susan Bielmann" userId="a79a17f1-673e-4f39-a691-ea29e35682b9" providerId="ADAL" clId="{970A37D6-B23D-4479-90ED-1CB844107D1F}" dt="2024-11-26T15:34:05.578" v="1528" actId="20577"/>
        <pc:sldMkLst>
          <pc:docMk/>
          <pc:sldMk cId="1449506662" sldId="346"/>
        </pc:sldMkLst>
        <pc:spChg chg="mod">
          <ac:chgData name="Susan Bielmann" userId="a79a17f1-673e-4f39-a691-ea29e35682b9" providerId="ADAL" clId="{970A37D6-B23D-4479-90ED-1CB844107D1F}" dt="2024-11-26T15:34:05.578" v="1528" actId="20577"/>
          <ac:spMkLst>
            <pc:docMk/>
            <pc:sldMk cId="1449506662" sldId="346"/>
            <ac:spMk id="3" creationId="{F4380038-66FE-D899-D610-BC8EFF04E656}"/>
          </ac:spMkLst>
        </pc:spChg>
      </pc:sldChg>
      <pc:sldChg chg="modSp mod">
        <pc:chgData name="Susan Bielmann" userId="a79a17f1-673e-4f39-a691-ea29e35682b9" providerId="ADAL" clId="{970A37D6-B23D-4479-90ED-1CB844107D1F}" dt="2024-11-26T15:48:08.409" v="1901" actId="20577"/>
        <pc:sldMkLst>
          <pc:docMk/>
          <pc:sldMk cId="1244253289" sldId="347"/>
        </pc:sldMkLst>
        <pc:spChg chg="mod">
          <ac:chgData name="Susan Bielmann" userId="a79a17f1-673e-4f39-a691-ea29e35682b9" providerId="ADAL" clId="{970A37D6-B23D-4479-90ED-1CB844107D1F}" dt="2024-11-26T15:34:22.240" v="1529" actId="20577"/>
          <ac:spMkLst>
            <pc:docMk/>
            <pc:sldMk cId="1244253289" sldId="347"/>
            <ac:spMk id="2" creationId="{9D1280CB-86CF-0BB8-6C5E-69E0E99179AB}"/>
          </ac:spMkLst>
        </pc:spChg>
        <pc:spChg chg="mod">
          <ac:chgData name="Susan Bielmann" userId="a79a17f1-673e-4f39-a691-ea29e35682b9" providerId="ADAL" clId="{970A37D6-B23D-4479-90ED-1CB844107D1F}" dt="2024-11-26T15:48:08.409" v="1901" actId="20577"/>
          <ac:spMkLst>
            <pc:docMk/>
            <pc:sldMk cId="1244253289" sldId="347"/>
            <ac:spMk id="3" creationId="{2BDD69A5-D278-7E45-1B1F-16F6FE0165B3}"/>
          </ac:spMkLst>
        </pc:spChg>
      </pc:sldChg>
      <pc:sldChg chg="modSp new mod">
        <pc:chgData name="Susan Bielmann" userId="a79a17f1-673e-4f39-a691-ea29e35682b9" providerId="ADAL" clId="{970A37D6-B23D-4479-90ED-1CB844107D1F}" dt="2024-11-29T15:01:08.135" v="2364" actId="115"/>
        <pc:sldMkLst>
          <pc:docMk/>
          <pc:sldMk cId="1042665833" sldId="348"/>
        </pc:sldMkLst>
        <pc:spChg chg="mod">
          <ac:chgData name="Susan Bielmann" userId="a79a17f1-673e-4f39-a691-ea29e35682b9" providerId="ADAL" clId="{970A37D6-B23D-4479-90ED-1CB844107D1F}" dt="2024-11-29T14:59:19.888" v="2311" actId="1076"/>
          <ac:spMkLst>
            <pc:docMk/>
            <pc:sldMk cId="1042665833" sldId="348"/>
            <ac:spMk id="2" creationId="{FD648AB4-F9AF-3C17-CA9F-C058689E7EAA}"/>
          </ac:spMkLst>
        </pc:spChg>
        <pc:spChg chg="mod">
          <ac:chgData name="Susan Bielmann" userId="a79a17f1-673e-4f39-a691-ea29e35682b9" providerId="ADAL" clId="{970A37D6-B23D-4479-90ED-1CB844107D1F}" dt="2024-11-29T15:01:08.135" v="2364" actId="115"/>
          <ac:spMkLst>
            <pc:docMk/>
            <pc:sldMk cId="1042665833" sldId="348"/>
            <ac:spMk id="3" creationId="{D3DA8A85-1FF1-97B9-D00E-E79B12B16C1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15947E-EC7A-4E1A-BF29-C6D37BCD032B}" type="datetimeFigureOut">
              <a:rPr lang="fr-FR" smtClean="0"/>
              <a:pPr/>
              <a:t>29/11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34EFBE-B88D-4BA3-8B52-716FB3BA5899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38693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1-29T10:25:15.29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540 40 24575,'-133'2'0,"-147"-5"0,146-15 0,85 10 0,-60-2 0,37 8 0,1 3 0,-1 3 0,-83 16 0,133-17 0,1 2 0,0 0 0,0 1 0,0 2 0,1 0 0,-26 14 0,-18 10 0,48-25 0,1 1 0,0 0 0,0 1 0,1 0 0,0 1 0,-13 12 0,15-10 0,1 0 0,0 1 0,1 0 0,1 0 0,0 1 0,1 0 0,0 1 0,1 0 0,1 0 0,-6 20 0,9-23 0,1 0 0,0 0 0,0 0 0,2 0 0,-1 0 0,1 0 0,1 0 0,0 0 0,1 0 0,1 0 0,-1 0 0,2-1 0,0 1 0,8 17 0,5 10 0,-2 1 0,14 62 0,15 39 0,-37-129 0,0 0 0,0-1 0,1 0 0,0-1 0,1 0 0,11 11 0,10 10 0,-9-8 0,2-2 0,46 34 0,-52-41 0,20 12 0,64 34 0,-66-44 0,1-1 0,41 11 0,24 9 0,-42-12 0,2-1 0,0-4 0,1-2 0,1-3 0,105 8 0,-135-18 0,54 13 0,-56-10 0,1 0 0,34 0 0,-63-6 0,434-2 0,-323-16 0,-82 12 0,64-6 0,-76 10 0,0-1 0,0-1 0,-1-1 0,1-1 0,-1-1 0,-1 0 0,29-16 0,-16 8 0,47-14 0,-35 16 0,-12 5 0,-1-1 0,0-2 0,52-26 0,-75 34 0,0-2 0,0 1 0,0-1 0,-1 0 0,0-1 0,0 1 0,0-1 0,-1 0 0,0-1 0,0 1 0,0-1 0,-1 0 0,0 0 0,-1-1 0,1 1 0,-1-1 0,-1 0 0,1 0 0,1-14 0,6-32 0,23-75 0,-19 80 0,-11 35 0,0 0 0,0 0 0,-2-1 0,0 1 0,0 0 0,-1-1 0,-1 1 0,0-1 0,-5-16 0,1 10 0,-1 1 0,-1 0 0,-1 0 0,-1 1 0,-18-30 0,2 5 0,15 25 0,-1 0 0,-1 1 0,-25-30 0,1 6 0,30 33 0,-2-1 0,0 1 0,0 1 0,0 0 0,-1 0 0,0 0 0,-1 1 0,-11-6 0,-5-3 0,-38-28 0,18 11 0,30 24 0,-1 2 0,0 0 0,-1 0 0,0 2 0,0 1 0,0 0 0,-19-1 0,13 0 0,-18 0 0,-1 1 0,-43 3 0,58 2 0,1-1 0,-1-1 0,0-1 0,1-2 0,0 0 0,0-2 0,-36-13 0,14 1-341,-2 3 0,1 2-1,-62-8 1,86 17-6485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2-11-29T10:25:23.641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1188 292 24575,'-1'-6'0,"0"1"0,0-1 0,0 0 0,-1 1 0,0-1 0,0 1 0,-1-1 0,0 1 0,1 0 0,-2 0 0,1 0 0,0 1 0,-1-1 0,0 1 0,-9-8 0,-5-4 0,-1 1 0,-29-18 0,27 19 0,-1 0 0,-1 1 0,0 2 0,0 0 0,-1 2 0,-44-12 0,3 7 0,0 4 0,0 2 0,-84 0 0,79 7 0,45-1 0,1 1 0,-1 1 0,0 1 0,1 2 0,-32 6 0,44-4 0,1 0 0,-1 1 0,1 0 0,0 1 0,0 0 0,1 1 0,0 0 0,0 0 0,1 1 0,0 0 0,0 1 0,-8 13 0,1 0 0,1 0 0,2 1 0,0 0 0,-16 46 0,21-41 0,1 1 0,2 0 0,1 1 0,1-1 0,2 1 0,1 0 0,6 48 0,-3-60 0,0-1 0,2 1 0,0 0 0,1-1 0,0 0 0,2-1 0,0 1 0,1-1 0,21 30 0,-13-26 0,0 0 0,2-2 0,0 0 0,1-1 0,1 0 0,33 20 0,-19-15 0,42 27 0,120 59 0,-170-97 0,1-1 0,0-1 0,1-2 0,0 0 0,0-2 0,0-1 0,1-2 0,48 0 0,-11-5 0,103-18 0,-141 14 0,0-1 0,-1-1 0,0-1 0,0-2 0,-1-1 0,27-16 0,-4-1 0,-13 8 0,0-1 0,55-46 0,-66 43 0,0-2 0,-2-1 0,-2 0 0,30-48 0,-47 66 0,-1 1 0,1-1 0,-2 0 0,1 0 0,-1 0 0,-1 0 0,0 0 0,0-1 0,-1-11 0,1-19 0,-5-41 0,0 23 0,3 55 0,0-13 0,0 1 0,-2-1 0,0 0 0,-4-17 0,4 29 0,0-1 0,0 0 0,-1 1 0,0 0 0,1 0 0,-2-1 0,1 2 0,-1-1 0,0 0 0,0 1 0,0 0 0,0 0 0,-1 0 0,-9-6 0,-12-7 0,-1 2 0,-1 1 0,0 1 0,-1 2 0,0 0 0,-56-11 0,33 10 0,18 4 0,1 2 0,-1 0 0,-36 0 0,-98 7-1365,134-1-546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9.11.2024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6909" y="4715154"/>
            <a:ext cx="533527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5305482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3</a:t>
            </a:fld>
            <a:endParaRPr lang="fr-CH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4</a:t>
            </a:fld>
            <a:endParaRPr lang="fr-CH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5</a:t>
            </a:fld>
            <a:endParaRPr lang="fr-CH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6</a:t>
            </a:fld>
            <a:endParaRPr lang="fr-CH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7</a:t>
            </a:fld>
            <a:endParaRPr lang="fr-CH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8</a:t>
            </a:fld>
            <a:endParaRPr lang="fr-CH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9</a:t>
            </a:fld>
            <a:endParaRPr lang="fr-CH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0</a:t>
            </a:fld>
            <a:endParaRPr lang="fr-CH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2</a:t>
            </a:fld>
            <a:endParaRPr lang="fr-CH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3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>
                <a:solidFill>
                  <a:prstClr val="black"/>
                </a:solidFill>
              </a:rPr>
              <a:pPr/>
              <a:t>2</a:t>
            </a:fld>
            <a:endParaRPr lang="fr-CH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6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02515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0</a:t>
            </a:fld>
            <a:endParaRPr lang="fr-CH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2" Type="http://schemas.openxmlformats.org/officeDocument/2006/relationships/tags" Target="../tags/tag66.xml"/><Relationship Id="rId16" Type="http://schemas.openxmlformats.org/officeDocument/2006/relationships/oleObject" Target="../embeddings/oleObject13.bin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5.xml"/><Relationship Id="rId10" Type="http://schemas.openxmlformats.org/officeDocument/2006/relationships/tags" Target="../tags/tag100.xml"/><Relationship Id="rId4" Type="http://schemas.openxmlformats.org/officeDocument/2006/relationships/tags" Target="../tags/tag94.xml"/><Relationship Id="rId9" Type="http://schemas.openxmlformats.org/officeDocument/2006/relationships/tags" Target="../tags/tag99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4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2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17.xml"/><Relationship Id="rId7" Type="http://schemas.openxmlformats.org/officeDocument/2006/relationships/tags" Target="../tags/tag12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11" Type="http://schemas.openxmlformats.org/officeDocument/2006/relationships/tags" Target="../tags/tag125.xml"/><Relationship Id="rId5" Type="http://schemas.openxmlformats.org/officeDocument/2006/relationships/tags" Target="../tags/tag119.xml"/><Relationship Id="rId10" Type="http://schemas.openxmlformats.org/officeDocument/2006/relationships/tags" Target="../tags/tag124.xml"/><Relationship Id="rId4" Type="http://schemas.openxmlformats.org/officeDocument/2006/relationships/tags" Target="../tags/tag118.xml"/><Relationship Id="rId9" Type="http://schemas.openxmlformats.org/officeDocument/2006/relationships/tags" Target="../tags/tag12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3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5" Type="http://schemas.openxmlformats.org/officeDocument/2006/relationships/tags" Target="../tags/tag135.xml"/><Relationship Id="rId4" Type="http://schemas.openxmlformats.org/officeDocument/2006/relationships/tags" Target="../tags/tag134.xml"/><Relationship Id="rId9" Type="http://schemas.openxmlformats.org/officeDocument/2006/relationships/image" Target="../media/image1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1.bin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4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tags" Target="../tags/tag151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tags" Target="../tags/tag174.xml"/><Relationship Id="rId3" Type="http://schemas.openxmlformats.org/officeDocument/2006/relationships/tags" Target="../tags/tag159.xml"/><Relationship Id="rId21" Type="http://schemas.openxmlformats.org/officeDocument/2006/relationships/tags" Target="../tags/tag177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tags" Target="../tags/tag173.xml"/><Relationship Id="rId2" Type="http://schemas.openxmlformats.org/officeDocument/2006/relationships/tags" Target="../tags/tag158.xml"/><Relationship Id="rId16" Type="http://schemas.openxmlformats.org/officeDocument/2006/relationships/tags" Target="../tags/tag172.xml"/><Relationship Id="rId20" Type="http://schemas.openxmlformats.org/officeDocument/2006/relationships/tags" Target="../tags/tag176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oleObject" Target="../embeddings/oleObject27.bin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23" Type="http://schemas.openxmlformats.org/officeDocument/2006/relationships/slideMaster" Target="../slideMasters/slideMaster2.xml"/><Relationship Id="rId10" Type="http://schemas.openxmlformats.org/officeDocument/2006/relationships/tags" Target="../tags/tag166.xml"/><Relationship Id="rId19" Type="http://schemas.openxmlformats.org/officeDocument/2006/relationships/tags" Target="../tags/tag175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tags" Target="../tags/tag17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2" Type="http://schemas.openxmlformats.org/officeDocument/2006/relationships/tags" Target="../tags/tag190.xml"/><Relationship Id="rId16" Type="http://schemas.openxmlformats.org/officeDocument/2006/relationships/oleObject" Target="../embeddings/oleObject31.bin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5" Type="http://schemas.openxmlformats.org/officeDocument/2006/relationships/tags" Target="../tags/tag193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98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oleObject" Target="../embeddings/oleObject32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oleObject" Target="../embeddings/oleObject33.bin"/><Relationship Id="rId2" Type="http://schemas.openxmlformats.org/officeDocument/2006/relationships/tags" Target="../tags/tag216.xml"/><Relationship Id="rId1" Type="http://schemas.openxmlformats.org/officeDocument/2006/relationships/tags" Target="../tags/tag215.xml"/><Relationship Id="rId6" Type="http://schemas.openxmlformats.org/officeDocument/2006/relationships/tags" Target="../tags/tag220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219.xml"/><Relationship Id="rId10" Type="http://schemas.openxmlformats.org/officeDocument/2006/relationships/tags" Target="../tags/tag224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5" Type="http://schemas.openxmlformats.org/officeDocument/2006/relationships/tags" Target="../tags/tag229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28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23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tags" Target="../tags/tag238.xml"/><Relationship Id="rId5" Type="http://schemas.openxmlformats.org/officeDocument/2006/relationships/tags" Target="../tags/tag237.xml"/><Relationship Id="rId4" Type="http://schemas.openxmlformats.org/officeDocument/2006/relationships/tags" Target="../tags/tag236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13" Type="http://schemas.openxmlformats.org/officeDocument/2006/relationships/oleObject" Target="../embeddings/oleObject36.bin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tags" Target="../tags/tag249.xml"/><Relationship Id="rId5" Type="http://schemas.openxmlformats.org/officeDocument/2006/relationships/tags" Target="../tags/tag243.xml"/><Relationship Id="rId10" Type="http://schemas.openxmlformats.org/officeDocument/2006/relationships/tags" Target="../tags/tag248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5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5" Type="http://schemas.openxmlformats.org/officeDocument/2006/relationships/tags" Target="../tags/tag259.xml"/><Relationship Id="rId4" Type="http://schemas.openxmlformats.org/officeDocument/2006/relationships/tags" Target="../tags/tag258.xml"/><Relationship Id="rId9" Type="http://schemas.openxmlformats.org/officeDocument/2006/relationships/image" Target="../media/image1.jpe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1.bin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27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tags" Target="../tags/tag274.xml"/><Relationship Id="rId5" Type="http://schemas.openxmlformats.org/officeDocument/2006/relationships/tags" Target="../tags/tag273.xml"/><Relationship Id="rId4" Type="http://schemas.openxmlformats.org/officeDocument/2006/relationships/tags" Target="../tags/tag27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27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tags" Target="../tags/tag280.xml"/><Relationship Id="rId5" Type="http://schemas.openxmlformats.org/officeDocument/2006/relationships/tags" Target="../tags/tag279.xml"/><Relationship Id="rId4" Type="http://schemas.openxmlformats.org/officeDocument/2006/relationships/tags" Target="../tags/tag278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3" Type="http://schemas.openxmlformats.org/officeDocument/2006/relationships/tags" Target="../tags/tag283.xml"/><Relationship Id="rId21" Type="http://schemas.openxmlformats.org/officeDocument/2006/relationships/tags" Target="../tags/tag301.xml"/><Relationship Id="rId7" Type="http://schemas.openxmlformats.org/officeDocument/2006/relationships/tags" Target="../tags/tag287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" Type="http://schemas.openxmlformats.org/officeDocument/2006/relationships/tags" Target="../tags/tag282.xml"/><Relationship Id="rId16" Type="http://schemas.openxmlformats.org/officeDocument/2006/relationships/tags" Target="../tags/tag296.xml"/><Relationship Id="rId20" Type="http://schemas.openxmlformats.org/officeDocument/2006/relationships/tags" Target="../tags/tag300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1" Type="http://schemas.openxmlformats.org/officeDocument/2006/relationships/tags" Target="../tags/tag291.xml"/><Relationship Id="rId24" Type="http://schemas.openxmlformats.org/officeDocument/2006/relationships/oleObject" Target="../embeddings/oleObject27.bin"/><Relationship Id="rId5" Type="http://schemas.openxmlformats.org/officeDocument/2006/relationships/tags" Target="../tags/tag285.xml"/><Relationship Id="rId15" Type="http://schemas.openxmlformats.org/officeDocument/2006/relationships/tags" Target="../tags/tag295.xml"/><Relationship Id="rId23" Type="http://schemas.openxmlformats.org/officeDocument/2006/relationships/slideMaster" Target="../slideMasters/slideMaster3.xml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4" Type="http://schemas.openxmlformats.org/officeDocument/2006/relationships/tags" Target="../tags/tag284.xml"/><Relationship Id="rId9" Type="http://schemas.openxmlformats.org/officeDocument/2006/relationships/tags" Target="../tags/tag289.xml"/><Relationship Id="rId14" Type="http://schemas.openxmlformats.org/officeDocument/2006/relationships/tags" Target="../tags/tag294.xml"/><Relationship Id="rId22" Type="http://schemas.openxmlformats.org/officeDocument/2006/relationships/tags" Target="../tags/tag30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0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12.xml"/><Relationship Id="rId2" Type="http://schemas.openxmlformats.org/officeDocument/2006/relationships/tags" Target="../tags/tag311.xml"/><Relationship Id="rId1" Type="http://schemas.openxmlformats.org/officeDocument/2006/relationships/tags" Target="../tags/tag310.xml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tags" Target="../tags/tag325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tags" Target="../tags/tag324.xml"/><Relationship Id="rId2" Type="http://schemas.openxmlformats.org/officeDocument/2006/relationships/tags" Target="../tags/tag314.xml"/><Relationship Id="rId16" Type="http://schemas.openxmlformats.org/officeDocument/2006/relationships/oleObject" Target="../embeddings/oleObject31.bin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tags" Target="../tags/tag323.xml"/><Relationship Id="rId5" Type="http://schemas.openxmlformats.org/officeDocument/2006/relationships/tags" Target="../tags/tag31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22.xml"/><Relationship Id="rId4" Type="http://schemas.openxmlformats.org/officeDocument/2006/relationships/tags" Target="../tags/tag316.xml"/><Relationship Id="rId9" Type="http://schemas.openxmlformats.org/officeDocument/2006/relationships/tags" Target="../tags/tag321.xml"/><Relationship Id="rId14" Type="http://schemas.openxmlformats.org/officeDocument/2006/relationships/tags" Target="../tags/tag32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12" Type="http://schemas.openxmlformats.org/officeDocument/2006/relationships/tags" Target="../tags/tag338.xml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tags" Target="../tags/tag332.xml"/><Relationship Id="rId11" Type="http://schemas.openxmlformats.org/officeDocument/2006/relationships/tags" Target="../tags/tag337.xml"/><Relationship Id="rId5" Type="http://schemas.openxmlformats.org/officeDocument/2006/relationships/tags" Target="../tags/tag331.xml"/><Relationship Id="rId10" Type="http://schemas.openxmlformats.org/officeDocument/2006/relationships/tags" Target="../tags/tag336.xml"/><Relationship Id="rId4" Type="http://schemas.openxmlformats.org/officeDocument/2006/relationships/tags" Target="../tags/tag330.xml"/><Relationship Id="rId9" Type="http://schemas.openxmlformats.org/officeDocument/2006/relationships/tags" Target="../tags/tag335.xml"/><Relationship Id="rId14" Type="http://schemas.openxmlformats.org/officeDocument/2006/relationships/oleObject" Target="../embeddings/oleObject32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346.xml"/><Relationship Id="rId3" Type="http://schemas.openxmlformats.org/officeDocument/2006/relationships/tags" Target="../tags/tag341.xml"/><Relationship Id="rId7" Type="http://schemas.openxmlformats.org/officeDocument/2006/relationships/tags" Target="../tags/tag345.xml"/><Relationship Id="rId12" Type="http://schemas.openxmlformats.org/officeDocument/2006/relationships/oleObject" Target="../embeddings/oleObject33.bin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tags" Target="../tags/tag344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343.xml"/><Relationship Id="rId10" Type="http://schemas.openxmlformats.org/officeDocument/2006/relationships/tags" Target="../tags/tag348.xml"/><Relationship Id="rId4" Type="http://schemas.openxmlformats.org/officeDocument/2006/relationships/tags" Target="../tags/tag342.xml"/><Relationship Id="rId9" Type="http://schemas.openxmlformats.org/officeDocument/2006/relationships/tags" Target="../tags/tag347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356.xml"/><Relationship Id="rId3" Type="http://schemas.openxmlformats.org/officeDocument/2006/relationships/tags" Target="../tags/tag351.xml"/><Relationship Id="rId7" Type="http://schemas.openxmlformats.org/officeDocument/2006/relationships/tags" Target="../tags/tag355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tags" Target="../tags/tag354.xml"/><Relationship Id="rId5" Type="http://schemas.openxmlformats.org/officeDocument/2006/relationships/tags" Target="../tags/tag353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352.xml"/><Relationship Id="rId9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.bin"/><Relationship Id="rId3" Type="http://schemas.openxmlformats.org/officeDocument/2006/relationships/tags" Target="../tags/tag35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58.xml"/><Relationship Id="rId1" Type="http://schemas.openxmlformats.org/officeDocument/2006/relationships/tags" Target="../tags/tag357.xml"/><Relationship Id="rId6" Type="http://schemas.openxmlformats.org/officeDocument/2006/relationships/tags" Target="../tags/tag362.xml"/><Relationship Id="rId5" Type="http://schemas.openxmlformats.org/officeDocument/2006/relationships/tags" Target="../tags/tag361.xml"/><Relationship Id="rId4" Type="http://schemas.openxmlformats.org/officeDocument/2006/relationships/tags" Target="../tags/tag360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370.xml"/><Relationship Id="rId13" Type="http://schemas.openxmlformats.org/officeDocument/2006/relationships/oleObject" Target="../embeddings/oleObject36.bin"/><Relationship Id="rId3" Type="http://schemas.openxmlformats.org/officeDocument/2006/relationships/tags" Target="../tags/tag365.xml"/><Relationship Id="rId7" Type="http://schemas.openxmlformats.org/officeDocument/2006/relationships/tags" Target="../tags/tag369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364.xml"/><Relationship Id="rId1" Type="http://schemas.openxmlformats.org/officeDocument/2006/relationships/tags" Target="../tags/tag363.xml"/><Relationship Id="rId6" Type="http://schemas.openxmlformats.org/officeDocument/2006/relationships/tags" Target="../tags/tag368.xml"/><Relationship Id="rId11" Type="http://schemas.openxmlformats.org/officeDocument/2006/relationships/tags" Target="../tags/tag373.xml"/><Relationship Id="rId5" Type="http://schemas.openxmlformats.org/officeDocument/2006/relationships/tags" Target="../tags/tag367.xml"/><Relationship Id="rId10" Type="http://schemas.openxmlformats.org/officeDocument/2006/relationships/tags" Target="../tags/tag372.xml"/><Relationship Id="rId4" Type="http://schemas.openxmlformats.org/officeDocument/2006/relationships/tags" Target="../tags/tag366.xml"/><Relationship Id="rId9" Type="http://schemas.openxmlformats.org/officeDocument/2006/relationships/tags" Target="../tags/tag37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1" name="Objekt 1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4572000" y="363600"/>
            <a:ext cx="4173538" cy="6511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CH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t>Service de la formation professionnelle </a:t>
            </a:r>
            <a:r>
              <a:rPr lang="fr-CH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t>SFP</a:t>
            </a:r>
            <a:endParaRPr lang="fr-FR" sz="1000" kern="12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  <a:p>
            <a:pPr algn="l"/>
            <a:r>
              <a:rPr lang="de-DE" sz="1000" b="1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t>Amt für Berufsbildung </a:t>
            </a:r>
            <a:r>
              <a:rPr lang="de-DE" sz="1000" kern="1200" dirty="0">
                <a:solidFill>
                  <a:schemeClr val="tx1"/>
                </a:solidFill>
                <a:latin typeface="Arial" charset="0"/>
                <a:ea typeface="ＭＳ Ｐゴシック" pitchFamily="-112" charset="-128"/>
                <a:cs typeface="+mn-cs"/>
              </a:rPr>
              <a:t>BBA</a:t>
            </a:r>
            <a:endParaRPr lang="fr-FR" sz="1000" kern="1200" dirty="0">
              <a:solidFill>
                <a:schemeClr val="tx1"/>
              </a:solidFill>
              <a:latin typeface="Arial" charset="0"/>
              <a:ea typeface="ＭＳ Ｐゴシック" pitchFamily="-112" charset="-128"/>
              <a:cs typeface="+mn-cs"/>
            </a:endParaRP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dirty="0"/>
              <a:t>Commission de qualification</a:t>
            </a:r>
            <a:r>
              <a:rPr lang="fr-CH" sz="1000" b="0" baseline="0" dirty="0"/>
              <a:t> – </a:t>
            </a:r>
            <a:r>
              <a:rPr lang="fr-CH" sz="1000" b="0" baseline="0" dirty="0" err="1"/>
              <a:t>Assistant-e</a:t>
            </a:r>
            <a:r>
              <a:rPr lang="fr-CH" sz="1000" b="0" baseline="0" dirty="0"/>
              <a:t> socio-éducatif/-</a:t>
            </a:r>
            <a:r>
              <a:rPr lang="fr-CH" sz="1000" b="0" baseline="0" dirty="0" err="1"/>
              <a:t>ve</a:t>
            </a:r>
            <a:r>
              <a:rPr lang="fr-CH" sz="1000" b="0" baseline="0" dirty="0"/>
              <a:t> CFC</a:t>
            </a:r>
            <a:endParaRPr lang="fr-CH" sz="1000" b="0" i="0" dirty="0"/>
          </a:p>
          <a:p>
            <a:pPr marL="0" marR="0" indent="0" algn="l" defTabSz="457200" rtl="0" eaLnBrk="1" fontAlgn="base" latinLnBrk="0" hangingPunct="1">
              <a:lnSpc>
                <a:spcPts val="1350"/>
              </a:lnSpc>
              <a:spcBef>
                <a:spcPct val="0"/>
              </a:spcBef>
              <a:spcAft>
                <a:spcPts val="0"/>
              </a:spcAft>
              <a:buClr>
                <a:srgbClr val="074EA1"/>
              </a:buClr>
              <a:buSzTx/>
              <a:buFontTx/>
              <a:buNone/>
              <a:tabLst/>
              <a:defRPr/>
            </a:pPr>
            <a:r>
              <a:rPr lang="fr-CH" sz="1000" b="0" i="0" dirty="0" err="1"/>
              <a:t>Qualifikationskommission</a:t>
            </a:r>
            <a:r>
              <a:rPr lang="fr-CH" sz="1000" b="0" i="0" baseline="0" dirty="0"/>
              <a:t> – </a:t>
            </a:r>
            <a:r>
              <a:rPr lang="fr-CH" sz="1000" b="0" i="0" baseline="0" dirty="0" err="1"/>
              <a:t>Fachfrau</a:t>
            </a:r>
            <a:r>
              <a:rPr lang="fr-CH" sz="1000" b="0" i="0" baseline="0" dirty="0"/>
              <a:t>/-</a:t>
            </a:r>
            <a:r>
              <a:rPr lang="fr-CH" sz="1000" b="0" i="0" baseline="0" dirty="0" err="1"/>
              <a:t>mann</a:t>
            </a:r>
            <a:r>
              <a:rPr lang="fr-CH" sz="1000" b="0" i="0" baseline="0" dirty="0"/>
              <a:t> </a:t>
            </a:r>
            <a:r>
              <a:rPr lang="fr-CH" sz="1000" b="0" i="0" baseline="0" dirty="0" err="1"/>
              <a:t>Betreuung</a:t>
            </a:r>
            <a:r>
              <a:rPr lang="fr-CH" sz="1000" b="0" i="0" baseline="0" dirty="0"/>
              <a:t> EFZ</a:t>
            </a:r>
            <a:endParaRPr lang="fr-CH" sz="1000" b="0" i="0" dirty="0"/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/>
              <a:t>Direction de</a:t>
            </a:r>
            <a:r>
              <a:rPr lang="fr-CH" sz="1000" b="0" i="0" baseline="0" dirty="0"/>
              <a:t> l’économie et de l’emploi</a:t>
            </a:r>
            <a:r>
              <a:rPr lang="fr-CH" sz="1000" b="1" dirty="0"/>
              <a:t> DEE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/>
              <a:t>Volkswirtschaftsdirektion</a:t>
            </a:r>
            <a:r>
              <a:rPr lang="fr-CH" sz="1000" b="0" i="0" dirty="0"/>
              <a:t> </a:t>
            </a:r>
            <a:r>
              <a:rPr lang="fr-CH" sz="1000" b="1" i="0" dirty="0"/>
              <a:t>VWD</a:t>
            </a:r>
            <a:endParaRPr lang="fr-CH" sz="1000" b="0" i="0" dirty="0"/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6" name="Objekt 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27" name="Objekt 2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31" name="Objekt 3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28" name="Objekt 2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7" name="Objekt 1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44" name="Objekt 4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>
                <a:solidFill>
                  <a:srgbClr val="000000"/>
                </a:solidFill>
              </a:rPr>
              <a:t>École professionnelle santé – social </a:t>
            </a:r>
            <a:r>
              <a:rPr lang="fr-CH" sz="1000" dirty="0">
                <a:solidFill>
                  <a:srgbClr val="000000"/>
                </a:solidFill>
              </a:rPr>
              <a:t>ESSG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 err="1">
                <a:solidFill>
                  <a:srgbClr val="000000"/>
                </a:solidFill>
              </a:rPr>
              <a:t>Berufsfachschule</a:t>
            </a:r>
            <a:r>
              <a:rPr lang="fr-CH" sz="1000" b="1" dirty="0">
                <a:solidFill>
                  <a:srgbClr val="000000"/>
                </a:solidFill>
              </a:rPr>
              <a:t> </a:t>
            </a:r>
            <a:r>
              <a:rPr lang="fr-CH" sz="1000" b="1" dirty="0" err="1">
                <a:solidFill>
                  <a:srgbClr val="000000"/>
                </a:solidFill>
              </a:rPr>
              <a:t>Soziales</a:t>
            </a:r>
            <a:r>
              <a:rPr lang="fr-CH" sz="1000" b="1" dirty="0">
                <a:solidFill>
                  <a:srgbClr val="000000"/>
                </a:solidFill>
              </a:rPr>
              <a:t> – </a:t>
            </a:r>
            <a:r>
              <a:rPr lang="fr-CH" sz="1000" b="1" dirty="0" err="1">
                <a:solidFill>
                  <a:srgbClr val="000000"/>
                </a:solidFill>
              </a:rPr>
              <a:t>Gesundheit</a:t>
            </a:r>
            <a:r>
              <a:rPr lang="fr-CH" sz="1000" dirty="0">
                <a:solidFill>
                  <a:srgbClr val="000000"/>
                </a:solidFill>
              </a:rPr>
              <a:t> ESSG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</a:rPr>
              <a:t>Direction de l’économie et de l’emploi</a:t>
            </a:r>
            <a:r>
              <a:rPr lang="fr-CH" sz="1000" b="1" dirty="0">
                <a:solidFill>
                  <a:srgbClr val="000000"/>
                </a:solidFill>
              </a:rPr>
              <a:t> DEE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dirty="0" err="1">
                <a:solidFill>
                  <a:srgbClr val="000000"/>
                </a:solidFill>
              </a:rPr>
              <a:t>Volkswirtschaftsdirektion</a:t>
            </a:r>
            <a:r>
              <a:rPr lang="fr-CH" sz="1000" dirty="0">
                <a:solidFill>
                  <a:srgbClr val="000000"/>
                </a:solidFill>
              </a:rPr>
              <a:t> </a:t>
            </a:r>
            <a:r>
              <a:rPr lang="fr-CH" sz="1000" b="1" dirty="0">
                <a:solidFill>
                  <a:srgbClr val="000000"/>
                </a:solidFill>
              </a:rPr>
              <a:t>VWD</a:t>
            </a:r>
            <a:endParaRPr lang="fr-CH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1525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6" name="Objekt 5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52264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28193698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42282810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2352168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086349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9107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5960550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6292688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7711012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685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9678802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9305786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681639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9337202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0095421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40685734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8593414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dirty="0"/>
              <a:t>Cliquer pour insérer un tit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>
            <p:custDataLst>
              <p:tags r:id="rId4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>
                <a:solidFill>
                  <a:srgbClr val="000000"/>
                </a:solidFill>
              </a:rPr>
              <a:t>École professionnelle santé – social </a:t>
            </a:r>
            <a:r>
              <a:rPr lang="fr-CH" sz="1000" dirty="0">
                <a:solidFill>
                  <a:srgbClr val="000000"/>
                </a:solidFill>
              </a:rPr>
              <a:t>ESSG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  <a:defRPr/>
            </a:pPr>
            <a:r>
              <a:rPr lang="fr-CH" sz="1000" b="1" dirty="0" err="1">
                <a:solidFill>
                  <a:srgbClr val="000000"/>
                </a:solidFill>
              </a:rPr>
              <a:t>Berufsfachschule</a:t>
            </a:r>
            <a:r>
              <a:rPr lang="fr-CH" sz="1000" b="1" dirty="0">
                <a:solidFill>
                  <a:srgbClr val="000000"/>
                </a:solidFill>
              </a:rPr>
              <a:t> </a:t>
            </a:r>
            <a:r>
              <a:rPr lang="fr-CH" sz="1000" b="1" dirty="0" err="1">
                <a:solidFill>
                  <a:srgbClr val="000000"/>
                </a:solidFill>
              </a:rPr>
              <a:t>Soziales</a:t>
            </a:r>
            <a:r>
              <a:rPr lang="fr-CH" sz="1000" b="1" dirty="0">
                <a:solidFill>
                  <a:srgbClr val="000000"/>
                </a:solidFill>
              </a:rPr>
              <a:t> – </a:t>
            </a:r>
            <a:r>
              <a:rPr lang="fr-CH" sz="1000" b="1" dirty="0" err="1">
                <a:solidFill>
                  <a:srgbClr val="000000"/>
                </a:solidFill>
              </a:rPr>
              <a:t>Gesundheit</a:t>
            </a:r>
            <a:r>
              <a:rPr lang="fr-CH" sz="1000" dirty="0">
                <a:solidFill>
                  <a:srgbClr val="000000"/>
                </a:solidFill>
              </a:rPr>
              <a:t> ESSG</a:t>
            </a: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</a:rPr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dirty="0">
                <a:solidFill>
                  <a:srgbClr val="000000"/>
                </a:solidFill>
              </a:rPr>
              <a:t>Direction de l’économie et de l’emploi</a:t>
            </a:r>
            <a:r>
              <a:rPr lang="fr-CH" sz="1000" b="1" dirty="0">
                <a:solidFill>
                  <a:srgbClr val="000000"/>
                </a:solidFill>
              </a:rPr>
              <a:t> DEE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dirty="0" err="1">
                <a:solidFill>
                  <a:srgbClr val="000000"/>
                </a:solidFill>
              </a:rPr>
              <a:t>Volkswirtschaftsdirektion</a:t>
            </a:r>
            <a:r>
              <a:rPr lang="fr-CH" sz="1000" dirty="0">
                <a:solidFill>
                  <a:srgbClr val="000000"/>
                </a:solidFill>
              </a:rPr>
              <a:t> </a:t>
            </a:r>
            <a:r>
              <a:rPr lang="fr-CH" sz="1000" b="1" dirty="0">
                <a:solidFill>
                  <a:srgbClr val="000000"/>
                </a:solidFill>
              </a:rPr>
              <a:t>VWD</a:t>
            </a:r>
            <a:endParaRPr lang="fr-CH" sz="1000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6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092577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359255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8508197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2582988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41190622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6469923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172447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120057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4064225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42511781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8057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076689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7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8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9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0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1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2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3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823499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8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1199512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0" imgH="0" progId="">
                  <p:embed/>
                </p:oleObj>
              </mc:Choice>
              <mc:Fallback>
                <p:oleObj name="think-cell Slide" r:id="rId12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2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3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5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9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3308961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8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7064788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4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11490870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8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9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20308575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4" name="Objekt 23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4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5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6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13" name="Objekt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4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72" name="Objekt 7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0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1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2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3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4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5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6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7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8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19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0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1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2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1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27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oleObject" Target="../embeddings/oleObject19.bin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26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30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129.xml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251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oleObject" Target="../embeddings/oleObject19.bin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250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tags" Target="../tags/tag254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ags" Target="../tags/tag253.xml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tags" Target="../tags/tag2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1034" name="Rectangle 10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cxnSp>
        <p:nvCxnSpPr>
          <p:cNvPr id="14" name="Straight Connector 13"/>
          <p:cNvCxnSpPr/>
          <p:nvPr>
            <p:custDataLst>
              <p:tags r:id="rId24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7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E691C44-51A5-42E3-AF9B-62E2D4E643F7}" type="slidenum">
              <a:rPr lang="fr-CH" smtClean="0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CH" dirty="0">
              <a:solidFill>
                <a:srgbClr val="000000"/>
              </a:solidFill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cxnSp>
        <p:nvCxnSpPr>
          <p:cNvPr id="14" name="Straight Connector 13"/>
          <p:cNvCxnSpPr/>
          <p:nvPr>
            <p:custDataLst>
              <p:tags r:id="rId24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200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>
              <a:defRPr/>
            </a:pPr>
            <a:fld id="{6E691C44-51A5-42E3-AF9B-62E2D4E643F7}" type="slidenum">
              <a:rPr lang="fr-CH" smtClean="0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CH" dirty="0">
              <a:solidFill>
                <a:srgbClr val="000000"/>
              </a:solidFill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23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cxnSp>
        <p:nvCxnSpPr>
          <p:cNvPr id="14" name="Straight Connector 13"/>
          <p:cNvCxnSpPr/>
          <p:nvPr>
            <p:custDataLst>
              <p:tags r:id="rId24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8541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savoirsocial.ch/de/ausbildung-fabe/qualifikationsverfahren-fabe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avoirsocial.ch/de/ausbildung-fabe/qualifikationsverfahren-fabe" TargetMode="Externa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savoirsocial.ch/de/ausbildung-fabe/qualifikationsverfahren-fabe" TargetMode="Externa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savoirsocial.ch/de/ausbildung-fabe/qualifikationsverfahren-fabe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rtrafr.ch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5" Type="http://schemas.openxmlformats.org/officeDocument/2006/relationships/hyperlink" Target="mailto:s.bielmann@ortrafr.ch" TargetMode="External"/><Relationship Id="rId4" Type="http://schemas.openxmlformats.org/officeDocument/2006/relationships/hyperlink" Target="http://www.ortrafr.ch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ortrafr.ch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fr.ch/bba" TargetMode="Externa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fr.ch/bba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rtrafr.ch/de/homepage.html" TargetMode="External"/><Relationship Id="rId2" Type="http://schemas.openxmlformats.org/officeDocument/2006/relationships/hyperlink" Target="mailto:s.bielmann@ortrafr.ch" TargetMode="Externa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rtrafr.ch/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rtrafr.ch/" TargetMode="Externa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customXml" Target="../ink/ink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hyperlink" Target="http://www.savoirsocial.ch/" TargetMode="External"/><Relationship Id="rId4" Type="http://schemas.openxmlformats.org/officeDocument/2006/relationships/hyperlink" Target="http://www.fr.ch/bba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s://www.savoirsocial.ch/de/ausbildung-fabe/qualifikationsverfahren-fab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7" name="Objekt 6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455613" y="1548000"/>
            <a:ext cx="8289925" cy="1423467"/>
          </a:xfrm>
        </p:spPr>
        <p:txBody>
          <a:bodyPr/>
          <a:lstStyle/>
          <a:p>
            <a:pPr algn="ctr"/>
            <a:br>
              <a:rPr lang="fr-FR" dirty="0"/>
            </a:br>
            <a:r>
              <a:rPr lang="fr-FR" dirty="0"/>
              <a:t> </a:t>
            </a:r>
            <a:r>
              <a:rPr lang="fr-FR" dirty="0" err="1"/>
              <a:t>Fachfrau</a:t>
            </a:r>
            <a:r>
              <a:rPr lang="fr-FR" dirty="0"/>
              <a:t> / </a:t>
            </a:r>
            <a:r>
              <a:rPr lang="fr-FR" dirty="0" err="1"/>
              <a:t>Fachmann</a:t>
            </a:r>
            <a:r>
              <a:rPr lang="fr-FR" dirty="0"/>
              <a:t> </a:t>
            </a:r>
            <a:r>
              <a:rPr lang="fr-FR" dirty="0" err="1"/>
              <a:t>Betreuung</a:t>
            </a:r>
            <a:r>
              <a:rPr lang="fr-FR" dirty="0"/>
              <a:t> EFZ</a:t>
            </a:r>
            <a:br>
              <a:rPr lang="fr-FR" dirty="0"/>
            </a:br>
            <a:r>
              <a:rPr lang="fr-FR" dirty="0" err="1"/>
              <a:t>Qualifikationsverfahren</a:t>
            </a:r>
            <a:r>
              <a:rPr lang="fr-FR" dirty="0"/>
              <a:t> 2025</a:t>
            </a:r>
          </a:p>
        </p:txBody>
      </p:sp>
      <p:sp>
        <p:nvSpPr>
          <p:cNvPr id="6" name="Sous-titre 5"/>
          <p:cNvSpPr>
            <a:spLocks noGrp="1"/>
          </p:cNvSpPr>
          <p:nvPr>
            <p:ph type="subTitle" idx="1"/>
          </p:nvPr>
        </p:nvSpPr>
        <p:spPr>
          <a:xfrm>
            <a:off x="455613" y="3717032"/>
            <a:ext cx="8289925" cy="1815882"/>
          </a:xfrm>
        </p:spPr>
        <p:txBody>
          <a:bodyPr/>
          <a:lstStyle/>
          <a:p>
            <a:pPr algn="ctr"/>
            <a:endParaRPr lang="fr-FR" b="1" dirty="0"/>
          </a:p>
          <a:p>
            <a:pPr algn="ctr"/>
            <a:r>
              <a:rPr lang="fr-FR" sz="2000" b="1" dirty="0"/>
              <a:t>INFORMATION </a:t>
            </a:r>
          </a:p>
          <a:p>
            <a:pPr algn="ctr"/>
            <a:r>
              <a:rPr lang="fr-FR" sz="2000" b="1" dirty="0"/>
              <a:t> an die </a:t>
            </a:r>
            <a:r>
              <a:rPr lang="fr-FR" sz="2000" b="1" dirty="0" err="1"/>
              <a:t>Lernenden</a:t>
            </a:r>
            <a:r>
              <a:rPr lang="fr-FR" sz="2000" b="1" dirty="0"/>
              <a:t> </a:t>
            </a:r>
            <a:r>
              <a:rPr lang="fr-FR" sz="2000" b="1" dirty="0" err="1"/>
              <a:t>und</a:t>
            </a:r>
            <a:r>
              <a:rPr lang="fr-FR" sz="2000" b="1" dirty="0"/>
              <a:t> an die </a:t>
            </a:r>
            <a:r>
              <a:rPr lang="fr-FR" sz="2000" b="1" dirty="0" err="1"/>
              <a:t>BerufsbilderIn</a:t>
            </a:r>
            <a:endParaRPr lang="fr-FR" sz="2000" b="1" dirty="0"/>
          </a:p>
          <a:p>
            <a:pPr algn="ctr"/>
            <a:r>
              <a:rPr lang="fr-FR" sz="2000" b="1" dirty="0" err="1"/>
              <a:t>vom</a:t>
            </a:r>
            <a:r>
              <a:rPr lang="fr-FR" sz="2000" b="1" dirty="0"/>
              <a:t> 29. </a:t>
            </a:r>
            <a:r>
              <a:rPr lang="fr-FR" sz="2000" b="1" dirty="0" err="1"/>
              <a:t>November</a:t>
            </a:r>
            <a:r>
              <a:rPr lang="fr-FR" sz="2000" b="1" dirty="0"/>
              <a:t> 2024</a:t>
            </a:r>
          </a:p>
          <a:p>
            <a:pPr algn="ctr"/>
            <a:endParaRPr lang="fr-FR" sz="2000" b="1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052737"/>
            <a:ext cx="8242300" cy="5232202"/>
          </a:xfrm>
        </p:spPr>
        <p:txBody>
          <a:bodyPr/>
          <a:lstStyle/>
          <a:p>
            <a:pPr>
              <a:spcAft>
                <a:spcPts val="600"/>
              </a:spcAft>
              <a:buNone/>
            </a:pPr>
            <a:r>
              <a:rPr lang="fr-FR" b="1" dirty="0"/>
              <a:t> </a:t>
            </a:r>
            <a:r>
              <a:rPr lang="fr-CH" b="1" u="sng" dirty="0" err="1"/>
              <a:t>Praxisaufgabe</a:t>
            </a:r>
            <a:r>
              <a:rPr lang="fr-CH" b="1" u="sng" dirty="0"/>
              <a:t> 2 – 3 – 4</a:t>
            </a:r>
            <a:r>
              <a:rPr lang="fr-CH" b="1" dirty="0"/>
              <a:t> :</a:t>
            </a:r>
          </a:p>
          <a:p>
            <a:pPr>
              <a:spcAft>
                <a:spcPts val="600"/>
              </a:spcAft>
              <a:buNone/>
            </a:pPr>
            <a:endParaRPr lang="fr-CH" sz="1200" b="1" dirty="0"/>
          </a:p>
          <a:p>
            <a:pPr>
              <a:spcAft>
                <a:spcPts val="600"/>
              </a:spcAft>
              <a:buNone/>
            </a:pPr>
            <a:r>
              <a:rPr lang="fr-CH" u="sng" dirty="0" err="1"/>
              <a:t>Dauer</a:t>
            </a:r>
            <a:r>
              <a:rPr lang="fr-CH" dirty="0"/>
              <a:t> : minimum 30 </a:t>
            </a:r>
            <a:r>
              <a:rPr lang="fr-CH" dirty="0" err="1"/>
              <a:t>Minut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maximum 1 Std. 45 Min. pro   </a:t>
            </a:r>
          </a:p>
          <a:p>
            <a:pPr>
              <a:spcAft>
                <a:spcPts val="0"/>
              </a:spcAft>
              <a:buNone/>
            </a:pPr>
            <a:r>
              <a:rPr lang="fr-CH" dirty="0"/>
              <a:t>             </a:t>
            </a:r>
            <a:r>
              <a:rPr lang="fr-CH" dirty="0" err="1"/>
              <a:t>Praxisaufgabe</a:t>
            </a:r>
            <a:r>
              <a:rPr lang="fr-CH" dirty="0"/>
              <a:t>. Die </a:t>
            </a:r>
            <a:r>
              <a:rPr lang="fr-CH" dirty="0" err="1"/>
              <a:t>Gesamtzeit</a:t>
            </a:r>
            <a:r>
              <a:rPr lang="fr-CH" dirty="0"/>
              <a:t> der 3 </a:t>
            </a:r>
            <a:r>
              <a:rPr lang="fr-CH" dirty="0" err="1"/>
              <a:t>Praxisaufgaben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</a:t>
            </a:r>
            <a:r>
              <a:rPr lang="fr-CH" dirty="0" err="1"/>
              <a:t>auf</a:t>
            </a:r>
            <a:r>
              <a:rPr lang="fr-CH" dirty="0"/>
              <a:t>                </a:t>
            </a:r>
          </a:p>
          <a:p>
            <a:pPr>
              <a:spcAft>
                <a:spcPts val="0"/>
              </a:spcAft>
              <a:buNone/>
            </a:pPr>
            <a:r>
              <a:rPr lang="fr-CH" dirty="0"/>
              <a:t>             2 </a:t>
            </a:r>
            <a:r>
              <a:rPr lang="fr-CH" dirty="0" err="1"/>
              <a:t>Stund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45 </a:t>
            </a:r>
            <a:r>
              <a:rPr lang="fr-CH" dirty="0" err="1"/>
              <a:t>Minuten</a:t>
            </a:r>
            <a:r>
              <a:rPr lang="fr-CH" dirty="0"/>
              <a:t> </a:t>
            </a:r>
            <a:r>
              <a:rPr lang="fr-CH" dirty="0" err="1"/>
              <a:t>festgelegt</a:t>
            </a:r>
            <a:r>
              <a:rPr lang="fr-CH" dirty="0"/>
              <a:t>. Die </a:t>
            </a:r>
            <a:r>
              <a:rPr lang="fr-CH" dirty="0" err="1"/>
              <a:t>Reihenfolge</a:t>
            </a:r>
            <a:r>
              <a:rPr lang="fr-CH" dirty="0"/>
              <a:t> der </a:t>
            </a:r>
          </a:p>
          <a:p>
            <a:pPr>
              <a:spcAft>
                <a:spcPts val="0"/>
              </a:spcAft>
              <a:buNone/>
            </a:pPr>
            <a:r>
              <a:rPr lang="fr-CH" dirty="0"/>
              <a:t>             </a:t>
            </a:r>
            <a:r>
              <a:rPr lang="fr-CH" dirty="0" err="1"/>
              <a:t>Praxisaufgaben</a:t>
            </a:r>
            <a:r>
              <a:rPr lang="fr-CH" dirty="0"/>
              <a:t> 2 – 3 – 4 </a:t>
            </a:r>
            <a:r>
              <a:rPr lang="fr-CH" dirty="0" err="1"/>
              <a:t>kann</a:t>
            </a:r>
            <a:r>
              <a:rPr lang="fr-CH" dirty="0"/>
              <a:t> </a:t>
            </a:r>
            <a:r>
              <a:rPr lang="fr-CH" dirty="0" err="1"/>
              <a:t>frei</a:t>
            </a:r>
            <a:r>
              <a:rPr lang="fr-CH" dirty="0"/>
              <a:t> </a:t>
            </a:r>
            <a:r>
              <a:rPr lang="fr-CH" dirty="0" err="1"/>
              <a:t>gewählt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.</a:t>
            </a:r>
          </a:p>
          <a:p>
            <a:pPr>
              <a:buNone/>
            </a:pPr>
            <a:endParaRPr lang="fr-CH" sz="1400" u="sng" dirty="0"/>
          </a:p>
          <a:p>
            <a:pPr>
              <a:spcAft>
                <a:spcPts val="0"/>
              </a:spcAft>
              <a:buNone/>
            </a:pPr>
            <a:r>
              <a:rPr lang="fr-CH" b="1" u="sng" dirty="0" err="1"/>
              <a:t>Praxisaufgabe</a:t>
            </a:r>
            <a:r>
              <a:rPr lang="fr-CH" b="1" u="sng" dirty="0"/>
              <a:t> « </a:t>
            </a:r>
            <a:r>
              <a:rPr lang="fr-CH" b="1" u="sng" dirty="0" err="1"/>
              <a:t>Alltagssituation</a:t>
            </a:r>
            <a:r>
              <a:rPr lang="fr-CH" b="1" u="sng" dirty="0"/>
              <a:t>»</a:t>
            </a:r>
            <a:r>
              <a:rPr lang="fr-CH" b="1" dirty="0"/>
              <a:t> : Seite 6 – 7</a:t>
            </a:r>
          </a:p>
          <a:p>
            <a:pPr>
              <a:spcAft>
                <a:spcPts val="0"/>
              </a:spcAft>
              <a:buNone/>
            </a:pPr>
            <a:endParaRPr lang="fr-CH" sz="1600" b="1" u="sng" dirty="0"/>
          </a:p>
          <a:p>
            <a:pPr>
              <a:spcAft>
                <a:spcPts val="0"/>
              </a:spcAft>
              <a:buNone/>
            </a:pPr>
            <a:r>
              <a:rPr lang="fr-CH" b="1" u="sng" dirty="0" err="1"/>
              <a:t>Praxisaufgabe</a:t>
            </a:r>
            <a:r>
              <a:rPr lang="fr-CH" b="1" u="sng" dirty="0"/>
              <a:t> «</a:t>
            </a:r>
            <a:r>
              <a:rPr lang="fr-CH" b="1" u="sng" dirty="0" err="1"/>
              <a:t>Stärkung</a:t>
            </a:r>
            <a:r>
              <a:rPr lang="fr-CH" b="1" u="sng" dirty="0"/>
              <a:t> </a:t>
            </a:r>
            <a:r>
              <a:rPr lang="fr-CH" b="1" u="sng" dirty="0" err="1"/>
              <a:t>oder</a:t>
            </a:r>
            <a:r>
              <a:rPr lang="fr-CH" b="1" u="sng" dirty="0"/>
              <a:t> </a:t>
            </a:r>
            <a:r>
              <a:rPr lang="fr-CH" b="1" u="sng" dirty="0" err="1"/>
              <a:t>Erhaltung</a:t>
            </a:r>
            <a:r>
              <a:rPr lang="fr-CH" b="1" u="sng" dirty="0"/>
              <a:t> </a:t>
            </a:r>
            <a:r>
              <a:rPr lang="fr-CH" b="1" u="sng" dirty="0" err="1"/>
              <a:t>einer</a:t>
            </a:r>
            <a:r>
              <a:rPr lang="fr-CH" b="1" u="sng" dirty="0"/>
              <a:t> </a:t>
            </a:r>
            <a:r>
              <a:rPr lang="fr-CH" b="1" u="sng" dirty="0" err="1"/>
              <a:t>Kompetenz</a:t>
            </a:r>
            <a:r>
              <a:rPr lang="fr-CH" b="1" u="sng" dirty="0"/>
              <a:t>»</a:t>
            </a:r>
            <a:r>
              <a:rPr lang="fr-CH" b="1" dirty="0"/>
              <a:t> :</a:t>
            </a:r>
          </a:p>
          <a:p>
            <a:pPr>
              <a:spcAft>
                <a:spcPts val="0"/>
              </a:spcAft>
              <a:buNone/>
            </a:pPr>
            <a:r>
              <a:rPr lang="fr-CH" b="1" dirty="0"/>
              <a:t>Seite 8</a:t>
            </a:r>
          </a:p>
          <a:p>
            <a:pPr>
              <a:spcAft>
                <a:spcPts val="0"/>
              </a:spcAft>
              <a:buNone/>
            </a:pPr>
            <a:endParaRPr lang="fr-CH" sz="1600" b="1" dirty="0"/>
          </a:p>
          <a:p>
            <a:pPr>
              <a:spcAft>
                <a:spcPts val="0"/>
              </a:spcAft>
              <a:buNone/>
            </a:pPr>
            <a:r>
              <a:rPr lang="fr-CH" b="1" u="sng" dirty="0" err="1"/>
              <a:t>Praxisaufgabe</a:t>
            </a:r>
            <a:r>
              <a:rPr lang="fr-CH" b="1" u="sng" dirty="0"/>
              <a:t> «</a:t>
            </a:r>
            <a:r>
              <a:rPr lang="fr-CH" b="1" u="sng" dirty="0" err="1"/>
              <a:t>Selbstwirksamkeit</a:t>
            </a:r>
            <a:r>
              <a:rPr lang="fr-CH" b="1" u="sng" dirty="0"/>
              <a:t>»</a:t>
            </a:r>
            <a:r>
              <a:rPr lang="fr-CH" b="1" dirty="0"/>
              <a:t> : Seite 9 – 10 </a:t>
            </a:r>
          </a:p>
          <a:p>
            <a:pPr>
              <a:spcAft>
                <a:spcPts val="0"/>
              </a:spcAft>
              <a:buNone/>
            </a:pPr>
            <a:endParaRPr lang="fr-CH" b="1" dirty="0"/>
          </a:p>
          <a:p>
            <a:pPr>
              <a:spcAft>
                <a:spcPts val="0"/>
              </a:spcAft>
              <a:buNone/>
            </a:pPr>
            <a:r>
              <a:rPr lang="fr-CH" dirty="0">
                <a:hlinkClick r:id="rId4"/>
              </a:rPr>
              <a:t>Dossier mit den </a:t>
            </a:r>
            <a:r>
              <a:rPr lang="fr-CH" dirty="0" err="1">
                <a:hlinkClick r:id="rId4"/>
              </a:rPr>
              <a:t>Praxisaufgaben</a:t>
            </a:r>
            <a:r>
              <a:rPr lang="fr-CH" dirty="0">
                <a:hlinkClick r:id="rId4"/>
              </a:rPr>
              <a:t> </a:t>
            </a:r>
            <a:r>
              <a:rPr lang="fr-CH" dirty="0" err="1">
                <a:hlinkClick r:id="rId4"/>
              </a:rPr>
              <a:t>und</a:t>
            </a:r>
            <a:r>
              <a:rPr lang="fr-CH" dirty="0">
                <a:hlinkClick r:id="rId4"/>
              </a:rPr>
              <a:t> </a:t>
            </a:r>
            <a:r>
              <a:rPr lang="fr-CH" dirty="0" err="1">
                <a:hlinkClick r:id="rId4"/>
              </a:rPr>
              <a:t>Informationen</a:t>
            </a:r>
            <a:r>
              <a:rPr lang="fr-CH" dirty="0">
                <a:hlinkClick r:id="rId4"/>
              </a:rPr>
              <a:t> </a:t>
            </a:r>
            <a:r>
              <a:rPr lang="fr-CH" dirty="0" err="1">
                <a:hlinkClick r:id="rId4"/>
              </a:rPr>
              <a:t>zum</a:t>
            </a:r>
            <a:r>
              <a:rPr lang="fr-CH" dirty="0">
                <a:hlinkClick r:id="rId4"/>
              </a:rPr>
              <a:t> </a:t>
            </a:r>
          </a:p>
          <a:p>
            <a:pPr>
              <a:spcAft>
                <a:spcPts val="0"/>
              </a:spcAft>
              <a:buNone/>
            </a:pPr>
            <a:r>
              <a:rPr lang="fr-CH" dirty="0" err="1">
                <a:hlinkClick r:id="rId4"/>
              </a:rPr>
              <a:t>Fachgespräch</a:t>
            </a:r>
            <a:r>
              <a:rPr lang="fr-CH" dirty="0">
                <a:hlinkClick r:id="rId4"/>
              </a:rPr>
              <a:t> </a:t>
            </a:r>
            <a:r>
              <a:rPr lang="fr-CH" dirty="0" err="1">
                <a:hlinkClick r:id="rId4"/>
              </a:rPr>
              <a:t>für</a:t>
            </a:r>
            <a:r>
              <a:rPr lang="fr-CH" dirty="0">
                <a:hlinkClick r:id="rId4"/>
              </a:rPr>
              <a:t> die </a:t>
            </a:r>
            <a:r>
              <a:rPr lang="fr-CH" dirty="0" err="1">
                <a:hlinkClick r:id="rId4"/>
              </a:rPr>
              <a:t>Kandidierenden</a:t>
            </a:r>
            <a:endParaRPr lang="fr-CH" dirty="0"/>
          </a:p>
          <a:p>
            <a:pPr>
              <a:buNone/>
            </a:pPr>
            <a:endParaRPr lang="fr-CH" dirty="0"/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CH" dirty="0">
                <a:latin typeface="Lucida Sans" pitchFamily="34" charset="0"/>
              </a:rPr>
              <a:t>EFZ FABE:  </a:t>
            </a:r>
            <a:r>
              <a:rPr lang="fr-CH" dirty="0" err="1">
                <a:latin typeface="Lucida Sans" pitchFamily="34" charset="0"/>
              </a:rPr>
              <a:t>praktische</a:t>
            </a:r>
            <a:r>
              <a:rPr lang="fr-CH" dirty="0">
                <a:latin typeface="Lucida Sans" pitchFamily="34" charset="0"/>
              </a:rPr>
              <a:t> </a:t>
            </a:r>
            <a:r>
              <a:rPr lang="fr-CH" dirty="0" err="1">
                <a:latin typeface="Lucida Sans" pitchFamily="34" charset="0"/>
              </a:rPr>
              <a:t>Prüfung</a:t>
            </a:r>
            <a:r>
              <a:rPr lang="fr-CH" dirty="0">
                <a:latin typeface="Lucida Sans" pitchFamily="34" charset="0"/>
              </a:rPr>
              <a:t> VPA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9289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A1B65A-87CC-C681-D718-14D57527B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>
                <a:latin typeface="Lucida Sans" pitchFamily="34" charset="0"/>
              </a:rPr>
              <a:t>EFZ FABE:  </a:t>
            </a:r>
            <a:r>
              <a:rPr lang="fr-CH" dirty="0" err="1">
                <a:latin typeface="Lucida Sans" pitchFamily="34" charset="0"/>
              </a:rPr>
              <a:t>praktische</a:t>
            </a:r>
            <a:r>
              <a:rPr lang="fr-CH" dirty="0">
                <a:latin typeface="Lucida Sans" pitchFamily="34" charset="0"/>
              </a:rPr>
              <a:t> </a:t>
            </a:r>
            <a:r>
              <a:rPr lang="fr-CH" dirty="0" err="1">
                <a:latin typeface="Lucida Sans" pitchFamily="34" charset="0"/>
              </a:rPr>
              <a:t>Prüfung</a:t>
            </a:r>
            <a:r>
              <a:rPr lang="fr-CH" dirty="0">
                <a:latin typeface="Lucida Sans" pitchFamily="34" charset="0"/>
              </a:rPr>
              <a:t> VPA</a:t>
            </a:r>
            <a:br>
              <a:rPr lang="fr-CH" dirty="0">
                <a:latin typeface="Lucida Sans" pitchFamily="34" charset="0"/>
              </a:rPr>
            </a:br>
            <a:endParaRPr lang="fr-CH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54C3AC7-D181-44FF-F564-6888646F20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4616648"/>
          </a:xfrm>
        </p:spPr>
        <p:txBody>
          <a:bodyPr/>
          <a:lstStyle/>
          <a:p>
            <a:pPr marL="0" indent="0">
              <a:buNone/>
            </a:pPr>
            <a:r>
              <a:rPr lang="fr-CH" b="1" u="sng" dirty="0" err="1"/>
              <a:t>Vorbereitung</a:t>
            </a:r>
            <a:r>
              <a:rPr lang="fr-CH" b="1" u="sng" dirty="0"/>
              <a:t> </a:t>
            </a:r>
            <a:r>
              <a:rPr lang="fr-CH" b="1" u="sng" dirty="0" err="1"/>
              <a:t>auf</a:t>
            </a:r>
            <a:r>
              <a:rPr lang="fr-CH" b="1" u="sng" dirty="0"/>
              <a:t> </a:t>
            </a:r>
            <a:r>
              <a:rPr lang="fr-CH" b="1" u="sng" dirty="0" err="1"/>
              <a:t>das</a:t>
            </a:r>
            <a:r>
              <a:rPr lang="fr-CH" b="1" u="sng" dirty="0"/>
              <a:t> </a:t>
            </a:r>
            <a:r>
              <a:rPr lang="fr-CH" b="1" u="sng" dirty="0" err="1"/>
              <a:t>Fachgespräch</a:t>
            </a:r>
            <a:r>
              <a:rPr lang="fr-CH" b="1" u="sng" dirty="0"/>
              <a:t> (</a:t>
            </a:r>
            <a:r>
              <a:rPr lang="fr-CH" b="1" u="sng" dirty="0" err="1"/>
              <a:t>Reflexionsaufgabe</a:t>
            </a:r>
            <a:r>
              <a:rPr lang="fr-CH" b="1" u="sng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endParaRPr lang="fr-CH" b="1" u="sng" dirty="0"/>
          </a:p>
          <a:p>
            <a:pPr marL="0" indent="0">
              <a:buNone/>
            </a:pPr>
            <a:r>
              <a:rPr lang="fr-CH" u="sng" dirty="0" err="1"/>
              <a:t>Dauer</a:t>
            </a:r>
            <a:r>
              <a:rPr lang="fr-CH" b="1" u="sng" dirty="0"/>
              <a:t> </a:t>
            </a:r>
            <a:r>
              <a:rPr lang="fr-CH" dirty="0"/>
              <a:t>: 30 </a:t>
            </a:r>
            <a:r>
              <a:rPr lang="fr-CH" dirty="0" err="1"/>
              <a:t>Minuten</a:t>
            </a:r>
            <a:endParaRPr lang="fr-CH" dirty="0"/>
          </a:p>
          <a:p>
            <a:pPr marL="0" indent="0">
              <a:spcAft>
                <a:spcPts val="0"/>
              </a:spcAft>
              <a:buNone/>
            </a:pPr>
            <a:r>
              <a:rPr lang="fr-CH" u="sng" dirty="0" err="1"/>
              <a:t>Ort</a:t>
            </a:r>
            <a:r>
              <a:rPr lang="fr-CH" u="sng" dirty="0"/>
              <a:t> </a:t>
            </a:r>
            <a:r>
              <a:rPr lang="fr-CH" dirty="0"/>
              <a:t>: </a:t>
            </a:r>
            <a:r>
              <a:rPr lang="fr-CH" dirty="0" err="1"/>
              <a:t>Ein</a:t>
            </a:r>
            <a:r>
              <a:rPr lang="fr-CH" dirty="0"/>
              <a:t> </a:t>
            </a:r>
            <a:r>
              <a:rPr lang="fr-CH" dirty="0" err="1"/>
              <a:t>ruhiger</a:t>
            </a:r>
            <a:r>
              <a:rPr lang="fr-CH" dirty="0"/>
              <a:t> </a:t>
            </a:r>
            <a:r>
              <a:rPr lang="fr-CH" dirty="0" err="1"/>
              <a:t>Raum</a:t>
            </a:r>
            <a:r>
              <a:rPr lang="fr-CH" dirty="0"/>
              <a:t> in der Institution </a:t>
            </a:r>
          </a:p>
          <a:p>
            <a:pPr marL="0" indent="0">
              <a:spcAft>
                <a:spcPts val="0"/>
              </a:spcAft>
              <a:buNone/>
            </a:pPr>
            <a:endParaRPr lang="fr-CH" dirty="0"/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Die/der </a:t>
            </a:r>
            <a:r>
              <a:rPr lang="fr-CH" dirty="0" err="1"/>
              <a:t>Kandidat</a:t>
            </a:r>
            <a:r>
              <a:rPr lang="fr-CH" dirty="0"/>
              <a:t>-In </a:t>
            </a:r>
            <a:r>
              <a:rPr lang="fr-CH" dirty="0" err="1"/>
              <a:t>wählt</a:t>
            </a:r>
            <a:r>
              <a:rPr lang="fr-CH" dirty="0"/>
              <a:t> </a:t>
            </a:r>
            <a:r>
              <a:rPr lang="fr-CH" dirty="0" err="1"/>
              <a:t>eine</a:t>
            </a:r>
            <a:r>
              <a:rPr lang="fr-CH" dirty="0"/>
              <a:t> </a:t>
            </a:r>
            <a:r>
              <a:rPr lang="fr-CH" dirty="0" err="1"/>
              <a:t>kurze</a:t>
            </a:r>
            <a:r>
              <a:rPr lang="fr-CH" dirty="0"/>
              <a:t> Situation </a:t>
            </a:r>
            <a:r>
              <a:rPr lang="fr-CH" dirty="0" err="1"/>
              <a:t>aus</a:t>
            </a:r>
            <a:r>
              <a:rPr lang="fr-CH" dirty="0"/>
              <a:t>, welche </a:t>
            </a:r>
            <a:r>
              <a:rPr lang="fr-CH" dirty="0" err="1"/>
              <a:t>während</a:t>
            </a:r>
            <a:r>
              <a:rPr lang="fr-CH" dirty="0"/>
              <a:t> der </a:t>
            </a:r>
            <a:r>
              <a:rPr lang="fr-CH" dirty="0" err="1"/>
              <a:t>Praxisaufgaben</a:t>
            </a:r>
            <a:r>
              <a:rPr lang="fr-CH" dirty="0"/>
              <a:t> </a:t>
            </a:r>
            <a:r>
              <a:rPr lang="fr-CH" dirty="0" err="1"/>
              <a:t>stattgefunden</a:t>
            </a:r>
            <a:r>
              <a:rPr lang="fr-CH" dirty="0"/>
              <a:t> </a:t>
            </a:r>
            <a:r>
              <a:rPr lang="fr-CH" dirty="0" err="1"/>
              <a:t>hat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analysiert</a:t>
            </a:r>
            <a:r>
              <a:rPr lang="fr-CH" dirty="0"/>
              <a:t> </a:t>
            </a:r>
            <a:r>
              <a:rPr lang="fr-CH" dirty="0" err="1"/>
              <a:t>diese</a:t>
            </a:r>
            <a:r>
              <a:rPr lang="fr-CH" dirty="0"/>
              <a:t>. </a:t>
            </a:r>
            <a:r>
              <a:rPr lang="fr-CH" dirty="0" err="1"/>
              <a:t>Diese</a:t>
            </a:r>
            <a:r>
              <a:rPr lang="fr-CH" dirty="0"/>
              <a:t> Analyse </a:t>
            </a:r>
            <a:r>
              <a:rPr lang="fr-CH" dirty="0" err="1"/>
              <a:t>oder</a:t>
            </a:r>
            <a:r>
              <a:rPr lang="fr-CH" dirty="0"/>
              <a:t> </a:t>
            </a:r>
            <a:r>
              <a:rPr lang="fr-CH" dirty="0" err="1"/>
              <a:t>Reflexion</a:t>
            </a:r>
            <a:r>
              <a:rPr lang="fr-CH" dirty="0"/>
              <a:t> </a:t>
            </a:r>
            <a:r>
              <a:rPr lang="fr-CH" dirty="0" err="1"/>
              <a:t>muss</a:t>
            </a:r>
            <a:r>
              <a:rPr lang="fr-CH" dirty="0"/>
              <a:t> 10 </a:t>
            </a:r>
            <a:r>
              <a:rPr lang="fr-CH" dirty="0" err="1"/>
              <a:t>Minuten</a:t>
            </a:r>
            <a:r>
              <a:rPr lang="fr-CH" dirty="0"/>
              <a:t> </a:t>
            </a:r>
            <a:r>
              <a:rPr lang="fr-CH" dirty="0" err="1"/>
              <a:t>dauern</a:t>
            </a:r>
            <a:r>
              <a:rPr lang="fr-CH" dirty="0"/>
              <a:t>. Die </a:t>
            </a:r>
            <a:r>
              <a:rPr lang="fr-CH" dirty="0" err="1"/>
              <a:t>Notizen</a:t>
            </a:r>
            <a:r>
              <a:rPr lang="fr-CH" dirty="0"/>
              <a:t> </a:t>
            </a:r>
            <a:r>
              <a:rPr lang="fr-CH" dirty="0" err="1"/>
              <a:t>können</a:t>
            </a:r>
            <a:r>
              <a:rPr lang="fr-CH" dirty="0"/>
              <a:t> </a:t>
            </a:r>
            <a:r>
              <a:rPr lang="fr-CH" dirty="0" err="1"/>
              <a:t>mitgenommen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. </a:t>
            </a:r>
            <a:r>
              <a:rPr lang="fr-CH" dirty="0" err="1"/>
              <a:t>Genauere</a:t>
            </a:r>
            <a:r>
              <a:rPr lang="fr-CH" dirty="0"/>
              <a:t> </a:t>
            </a:r>
            <a:r>
              <a:rPr lang="fr-CH" dirty="0" err="1"/>
              <a:t>Angaben</a:t>
            </a:r>
            <a:r>
              <a:rPr lang="fr-CH" dirty="0"/>
              <a:t> </a:t>
            </a:r>
            <a:r>
              <a:rPr lang="fr-CH" dirty="0" err="1"/>
              <a:t>finden</a:t>
            </a:r>
            <a:r>
              <a:rPr lang="fr-CH" dirty="0"/>
              <a:t> </a:t>
            </a:r>
            <a:r>
              <a:rPr lang="fr-CH" dirty="0" err="1"/>
              <a:t>Sie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</a:t>
            </a:r>
            <a:r>
              <a:rPr lang="fr-CH" dirty="0" err="1"/>
              <a:t>unten-stehenden</a:t>
            </a:r>
            <a:r>
              <a:rPr lang="fr-CH" dirty="0"/>
              <a:t> Link </a:t>
            </a:r>
            <a:r>
              <a:rPr lang="fr-CH" dirty="0" err="1"/>
              <a:t>auf</a:t>
            </a:r>
            <a:r>
              <a:rPr lang="fr-CH" dirty="0"/>
              <a:t> Seite 11 – 19  : </a:t>
            </a:r>
          </a:p>
          <a:p>
            <a:pPr marL="0" indent="0">
              <a:spcAft>
                <a:spcPts val="0"/>
              </a:spcAft>
              <a:buNone/>
            </a:pPr>
            <a:endParaRPr lang="fr-CH" dirty="0"/>
          </a:p>
          <a:p>
            <a:pPr marL="0" indent="0">
              <a:spcAft>
                <a:spcPts val="0"/>
              </a:spcAft>
              <a:buNone/>
            </a:pPr>
            <a:r>
              <a:rPr lang="fr-CH" dirty="0">
                <a:hlinkClick r:id="rId2"/>
              </a:rPr>
              <a:t>Dossier mit den </a:t>
            </a:r>
            <a:r>
              <a:rPr lang="fr-CH" dirty="0" err="1">
                <a:hlinkClick r:id="rId2"/>
              </a:rPr>
              <a:t>Praxisaufgaben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und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Informationen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zum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Fachgespräch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für</a:t>
            </a:r>
            <a:r>
              <a:rPr lang="fr-CH" dirty="0">
                <a:hlinkClick r:id="rId2"/>
              </a:rPr>
              <a:t> die </a:t>
            </a:r>
            <a:r>
              <a:rPr lang="fr-CH" dirty="0" err="1">
                <a:hlinkClick r:id="rId2"/>
              </a:rPr>
              <a:t>Kandidierenden</a:t>
            </a:r>
            <a:endParaRPr lang="fr-CH" dirty="0"/>
          </a:p>
          <a:p>
            <a:pPr marL="0" indent="0">
              <a:spcAft>
                <a:spcPts val="0"/>
              </a:spcAft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576211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E0C422-FA09-9754-8C14-5D26F8547D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r>
              <a:rPr lang="fr-CH" dirty="0">
                <a:latin typeface="Lucida Sans" pitchFamily="34" charset="0"/>
              </a:rPr>
              <a:t>EFZ FABE:  </a:t>
            </a:r>
            <a:r>
              <a:rPr lang="fr-CH" dirty="0" err="1">
                <a:latin typeface="Lucida Sans" pitchFamily="34" charset="0"/>
              </a:rPr>
              <a:t>praktische</a:t>
            </a:r>
            <a:r>
              <a:rPr lang="fr-CH" dirty="0">
                <a:latin typeface="Lucida Sans" pitchFamily="34" charset="0"/>
              </a:rPr>
              <a:t> </a:t>
            </a:r>
            <a:r>
              <a:rPr lang="fr-CH" dirty="0" err="1">
                <a:latin typeface="Lucida Sans" pitchFamily="34" charset="0"/>
              </a:rPr>
              <a:t>Prüfung</a:t>
            </a:r>
            <a:r>
              <a:rPr lang="fr-CH" dirty="0">
                <a:latin typeface="Lucida Sans" pitchFamily="34" charset="0"/>
              </a:rPr>
              <a:t> VPA</a:t>
            </a:r>
            <a:endParaRPr lang="fr-CH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0A7050E-9E82-4E6D-8FBE-B954EAA14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868" y="980728"/>
            <a:ext cx="8242300" cy="5139869"/>
          </a:xfrm>
        </p:spPr>
        <p:txBody>
          <a:bodyPr/>
          <a:lstStyle/>
          <a:p>
            <a:pPr marL="0" indent="0">
              <a:buNone/>
            </a:pPr>
            <a:r>
              <a:rPr lang="fr-CH" b="1" u="sng" dirty="0" err="1"/>
              <a:t>Fachgespräch</a:t>
            </a:r>
            <a:r>
              <a:rPr lang="fr-CH" b="1" u="sng" dirty="0"/>
              <a:t> :</a:t>
            </a:r>
          </a:p>
          <a:p>
            <a:pPr marL="0" indent="0">
              <a:spcAft>
                <a:spcPts val="0"/>
              </a:spcAft>
              <a:buNone/>
            </a:pPr>
            <a:endParaRPr lang="fr-CH" sz="1400" b="1" u="sng" dirty="0"/>
          </a:p>
          <a:p>
            <a:pPr marL="0" indent="0">
              <a:spcAft>
                <a:spcPts val="0"/>
              </a:spcAft>
              <a:buNone/>
            </a:pPr>
            <a:r>
              <a:rPr lang="fr-CH" u="sng" dirty="0" err="1"/>
              <a:t>Dauer</a:t>
            </a:r>
            <a:r>
              <a:rPr lang="fr-CH" dirty="0"/>
              <a:t> : 30 </a:t>
            </a:r>
            <a:r>
              <a:rPr lang="fr-CH" dirty="0" err="1"/>
              <a:t>Minuten</a:t>
            </a:r>
            <a:endParaRPr lang="fr-CH" dirty="0"/>
          </a:p>
          <a:p>
            <a:pPr marL="0" indent="0">
              <a:spcAft>
                <a:spcPts val="0"/>
              </a:spcAft>
              <a:buNone/>
            </a:pPr>
            <a:r>
              <a:rPr lang="fr-CH" u="sng" dirty="0" err="1"/>
              <a:t>Ort</a:t>
            </a:r>
            <a:r>
              <a:rPr lang="fr-CH" dirty="0"/>
              <a:t> : </a:t>
            </a:r>
            <a:r>
              <a:rPr lang="fr-CH" dirty="0" err="1"/>
              <a:t>Raum</a:t>
            </a:r>
            <a:r>
              <a:rPr lang="fr-CH" dirty="0"/>
              <a:t>, </a:t>
            </a:r>
            <a:r>
              <a:rPr lang="fr-CH" dirty="0" err="1"/>
              <a:t>welcher</a:t>
            </a:r>
            <a:r>
              <a:rPr lang="fr-CH" dirty="0"/>
              <a:t> von der Institution </a:t>
            </a:r>
            <a:r>
              <a:rPr lang="fr-CH" dirty="0" err="1"/>
              <a:t>zur</a:t>
            </a:r>
            <a:r>
              <a:rPr lang="fr-CH" dirty="0"/>
              <a:t> </a:t>
            </a:r>
            <a:r>
              <a:rPr lang="fr-CH" dirty="0" err="1"/>
              <a:t>Verfügung</a:t>
            </a:r>
            <a:r>
              <a:rPr lang="fr-CH" dirty="0"/>
              <a:t> </a:t>
            </a:r>
            <a:r>
              <a:rPr lang="fr-CH" dirty="0" err="1"/>
              <a:t>gestellt</a:t>
            </a:r>
            <a:r>
              <a:rPr lang="fr-CH" dirty="0"/>
              <a:t> </a:t>
            </a:r>
            <a:r>
              <a:rPr lang="fr-CH" dirty="0" err="1"/>
              <a:t>wird</a:t>
            </a:r>
            <a:r>
              <a:rPr lang="fr-CH" dirty="0"/>
              <a:t>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fr-CH" dirty="0"/>
              <a:t>       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wo</a:t>
            </a:r>
            <a:r>
              <a:rPr lang="fr-CH" dirty="0"/>
              <a:t> </a:t>
            </a:r>
            <a:r>
              <a:rPr lang="fr-CH" dirty="0" err="1"/>
              <a:t>ungestört</a:t>
            </a:r>
            <a:r>
              <a:rPr lang="fr-CH" dirty="0"/>
              <a:t> </a:t>
            </a:r>
            <a:r>
              <a:rPr lang="fr-CH" dirty="0" err="1"/>
              <a:t>diskutiert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 </a:t>
            </a:r>
            <a:r>
              <a:rPr lang="fr-CH" dirty="0" err="1"/>
              <a:t>kann</a:t>
            </a:r>
            <a:r>
              <a:rPr lang="fr-CH" dirty="0"/>
              <a:t>.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u="sng" dirty="0" err="1"/>
              <a:t>Anwesende</a:t>
            </a:r>
            <a:r>
              <a:rPr lang="fr-CH" u="sng" dirty="0"/>
              <a:t> </a:t>
            </a:r>
            <a:r>
              <a:rPr lang="fr-CH" u="sng" dirty="0" err="1"/>
              <a:t>Personen</a:t>
            </a:r>
            <a:r>
              <a:rPr lang="fr-CH" dirty="0"/>
              <a:t> : </a:t>
            </a:r>
            <a:r>
              <a:rPr lang="fr-CH" dirty="0" err="1"/>
              <a:t>Kandidat</a:t>
            </a:r>
            <a:r>
              <a:rPr lang="fr-CH" dirty="0"/>
              <a:t>-in </a:t>
            </a:r>
            <a:r>
              <a:rPr lang="fr-CH" dirty="0" err="1"/>
              <a:t>und</a:t>
            </a:r>
            <a:r>
              <a:rPr lang="fr-CH" dirty="0"/>
              <a:t> die 2 Expert*</a:t>
            </a:r>
            <a:r>
              <a:rPr lang="fr-CH" dirty="0" err="1"/>
              <a:t>innen</a:t>
            </a:r>
            <a:endParaRPr lang="fr-CH" dirty="0"/>
          </a:p>
          <a:p>
            <a:pPr marL="0" indent="0">
              <a:spcAft>
                <a:spcPts val="0"/>
              </a:spcAft>
              <a:buNone/>
            </a:pPr>
            <a:endParaRPr lang="fr-CH" u="sng" dirty="0"/>
          </a:p>
          <a:p>
            <a:pPr marL="0" indent="0">
              <a:spcAft>
                <a:spcPts val="0"/>
              </a:spcAft>
              <a:buNone/>
            </a:pPr>
            <a:r>
              <a:rPr lang="fr-CH" b="1" u="sng" dirty="0" err="1"/>
              <a:t>Ablauf</a:t>
            </a:r>
            <a:r>
              <a:rPr lang="fr-CH" b="1" dirty="0"/>
              <a:t> :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fr-CH" dirty="0"/>
              <a:t>		- Analyse/Réflexion des/der </a:t>
            </a:r>
            <a:r>
              <a:rPr lang="fr-CH" dirty="0" err="1"/>
              <a:t>Kandidat</a:t>
            </a:r>
            <a:r>
              <a:rPr lang="fr-CH" dirty="0"/>
              <a:t>-in			</a:t>
            </a:r>
            <a:r>
              <a:rPr lang="fr-CH" dirty="0">
                <a:latin typeface="Webdings" panose="05030102010509060703" pitchFamily="18" charset="2"/>
              </a:rPr>
              <a:t>4</a:t>
            </a:r>
            <a:r>
              <a:rPr lang="fr-CH" dirty="0">
                <a:latin typeface="+mj-lt"/>
              </a:rPr>
              <a:t>10 </a:t>
            </a:r>
            <a:r>
              <a:rPr lang="fr-CH" dirty="0" err="1">
                <a:latin typeface="+mj-lt"/>
              </a:rPr>
              <a:t>Minuten</a:t>
            </a:r>
            <a:endParaRPr lang="fr-CH" dirty="0">
              <a:latin typeface="+mj-lt"/>
            </a:endParaRPr>
          </a:p>
          <a:p>
            <a:pPr marL="0" indent="0">
              <a:spcAft>
                <a:spcPts val="1200"/>
              </a:spcAft>
              <a:buNone/>
            </a:pPr>
            <a:r>
              <a:rPr lang="fr-CH" dirty="0">
                <a:latin typeface="+mj-lt"/>
              </a:rPr>
              <a:t>		- </a:t>
            </a:r>
            <a:r>
              <a:rPr lang="fr-CH" dirty="0" err="1">
                <a:latin typeface="+mj-lt"/>
              </a:rPr>
              <a:t>Fragen</a:t>
            </a:r>
            <a:r>
              <a:rPr lang="fr-CH" dirty="0">
                <a:latin typeface="+mj-lt"/>
              </a:rPr>
              <a:t> der Expert*</a:t>
            </a:r>
            <a:r>
              <a:rPr lang="fr-CH" dirty="0" err="1">
                <a:latin typeface="+mj-lt"/>
              </a:rPr>
              <a:t>innen</a:t>
            </a:r>
            <a:r>
              <a:rPr lang="fr-CH" dirty="0">
                <a:latin typeface="+mj-lt"/>
              </a:rPr>
              <a:t>						</a:t>
            </a:r>
            <a:r>
              <a:rPr lang="fr-CH" dirty="0">
                <a:latin typeface="Webdings" panose="05030102010509060703" pitchFamily="18" charset="2"/>
              </a:rPr>
              <a:t>4</a:t>
            </a:r>
            <a:r>
              <a:rPr lang="fr-CH" dirty="0">
                <a:latin typeface="+mj-lt"/>
              </a:rPr>
              <a:t>20 </a:t>
            </a:r>
            <a:r>
              <a:rPr lang="fr-CH" dirty="0" err="1">
                <a:latin typeface="+mj-lt"/>
              </a:rPr>
              <a:t>Minuten</a:t>
            </a:r>
            <a:endParaRPr lang="fr-CH" dirty="0">
              <a:latin typeface="+mj-lt"/>
            </a:endParaRPr>
          </a:p>
          <a:p>
            <a:pPr marL="0" indent="0">
              <a:spcAft>
                <a:spcPts val="1200"/>
              </a:spcAft>
              <a:buNone/>
            </a:pPr>
            <a:endParaRPr lang="fr-CH" sz="1200" dirty="0">
              <a:latin typeface="+mj-lt"/>
            </a:endParaRPr>
          </a:p>
          <a:p>
            <a:pPr marL="0" indent="0">
              <a:spcAft>
                <a:spcPts val="1200"/>
              </a:spcAft>
              <a:buNone/>
            </a:pPr>
            <a:r>
              <a:rPr lang="fr-CH" dirty="0" err="1">
                <a:latin typeface="+mj-lt"/>
              </a:rPr>
              <a:t>Sie</a:t>
            </a:r>
            <a:r>
              <a:rPr lang="fr-CH" dirty="0">
                <a:latin typeface="+mj-lt"/>
              </a:rPr>
              <a:t> </a:t>
            </a:r>
            <a:r>
              <a:rPr lang="fr-CH" dirty="0" err="1">
                <a:latin typeface="+mj-lt"/>
              </a:rPr>
              <a:t>finden</a:t>
            </a:r>
            <a:r>
              <a:rPr lang="fr-CH" dirty="0">
                <a:latin typeface="+mj-lt"/>
              </a:rPr>
              <a:t> hier die </a:t>
            </a:r>
            <a:r>
              <a:rPr lang="fr-CH" dirty="0" err="1">
                <a:latin typeface="+mj-lt"/>
              </a:rPr>
              <a:t>Fragen</a:t>
            </a:r>
            <a:r>
              <a:rPr lang="fr-CH" dirty="0">
                <a:latin typeface="+mj-lt"/>
              </a:rPr>
              <a:t> </a:t>
            </a:r>
            <a:r>
              <a:rPr lang="fr-CH" dirty="0" err="1">
                <a:latin typeface="+mj-lt"/>
              </a:rPr>
              <a:t>für</a:t>
            </a:r>
            <a:r>
              <a:rPr lang="fr-CH" dirty="0">
                <a:latin typeface="+mj-lt"/>
              </a:rPr>
              <a:t> </a:t>
            </a:r>
            <a:r>
              <a:rPr lang="fr-CH" dirty="0" err="1">
                <a:latin typeface="+mj-lt"/>
              </a:rPr>
              <a:t>das</a:t>
            </a:r>
            <a:r>
              <a:rPr lang="fr-CH" dirty="0">
                <a:latin typeface="+mj-lt"/>
              </a:rPr>
              <a:t> </a:t>
            </a:r>
            <a:r>
              <a:rPr lang="fr-CH" dirty="0" err="1">
                <a:latin typeface="+mj-lt"/>
              </a:rPr>
              <a:t>Fachgespräch</a:t>
            </a:r>
            <a:r>
              <a:rPr lang="fr-CH" dirty="0">
                <a:latin typeface="+mj-lt"/>
              </a:rPr>
              <a:t> : Seite 13 – 19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fr-CH" dirty="0">
                <a:hlinkClick r:id="rId2"/>
              </a:rPr>
              <a:t>Dossier mit den </a:t>
            </a:r>
            <a:r>
              <a:rPr lang="fr-CH" dirty="0" err="1">
                <a:hlinkClick r:id="rId2"/>
              </a:rPr>
              <a:t>Praxisaufgaben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und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Informationen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zum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Fachgespräch</a:t>
            </a:r>
            <a:r>
              <a:rPr lang="fr-CH" dirty="0">
                <a:hlinkClick r:id="rId2"/>
              </a:rPr>
              <a:t> </a:t>
            </a:r>
            <a:r>
              <a:rPr lang="fr-CH" dirty="0" err="1">
                <a:hlinkClick r:id="rId2"/>
              </a:rPr>
              <a:t>für</a:t>
            </a:r>
            <a:r>
              <a:rPr lang="fr-CH" dirty="0">
                <a:hlinkClick r:id="rId2"/>
              </a:rPr>
              <a:t> die </a:t>
            </a:r>
            <a:r>
              <a:rPr lang="fr-CH" dirty="0" err="1">
                <a:hlinkClick r:id="rId2"/>
              </a:rPr>
              <a:t>Kandidierenden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814936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202293"/>
            <a:ext cx="8242300" cy="474489"/>
          </a:xfrm>
        </p:spPr>
        <p:txBody>
          <a:bodyPr/>
          <a:lstStyle/>
          <a:p>
            <a:pPr algn="ctr"/>
            <a:r>
              <a:rPr lang="fr-CH" dirty="0">
                <a:latin typeface="Lucida Sans" pitchFamily="34" charset="0"/>
              </a:rPr>
              <a:t>EFZ FABE :  </a:t>
            </a:r>
            <a:r>
              <a:rPr lang="fr-CH" dirty="0" err="1">
                <a:latin typeface="Lucida Sans" pitchFamily="34" charset="0"/>
              </a:rPr>
              <a:t>praktische</a:t>
            </a:r>
            <a:r>
              <a:rPr lang="fr-CH" dirty="0">
                <a:latin typeface="Lucida Sans" pitchFamily="34" charset="0"/>
              </a:rPr>
              <a:t> </a:t>
            </a:r>
            <a:r>
              <a:rPr lang="fr-CH" dirty="0" err="1">
                <a:latin typeface="Lucida Sans" pitchFamily="34" charset="0"/>
              </a:rPr>
              <a:t>Prüfung</a:t>
            </a:r>
            <a:r>
              <a:rPr lang="fr-CH" dirty="0">
                <a:latin typeface="Lucida Sans" pitchFamily="34" charset="0"/>
              </a:rPr>
              <a:t> VPA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689338"/>
            <a:ext cx="8242300" cy="5378395"/>
          </a:xfrm>
        </p:spPr>
        <p:txBody>
          <a:bodyPr/>
          <a:lstStyle/>
          <a:p>
            <a:pPr>
              <a:buNone/>
            </a:pPr>
            <a:r>
              <a:rPr lang="fr-FR" sz="1800" b="1" dirty="0"/>
              <a:t>Allgemeine </a:t>
            </a:r>
            <a:r>
              <a:rPr lang="fr-FR" sz="1800" b="1" dirty="0" err="1"/>
              <a:t>Weisungen</a:t>
            </a:r>
            <a:r>
              <a:rPr lang="fr-FR" sz="1800" b="1" dirty="0"/>
              <a:t> :</a:t>
            </a:r>
          </a:p>
          <a:p>
            <a:pPr>
              <a:spcAft>
                <a:spcPts val="0"/>
              </a:spcAft>
            </a:pPr>
            <a:r>
              <a:rPr lang="fr-FR" sz="1600" b="1" dirty="0"/>
              <a:t>Die </a:t>
            </a:r>
            <a:r>
              <a:rPr lang="fr-FR" sz="1600" b="1" dirty="0" err="1"/>
              <a:t>Übergangsmomente</a:t>
            </a:r>
            <a:r>
              <a:rPr lang="fr-FR" sz="1600" b="1" dirty="0"/>
              <a:t> </a:t>
            </a:r>
            <a:r>
              <a:rPr lang="fr-FR" sz="1600" dirty="0"/>
              <a:t>« </a:t>
            </a:r>
            <a:r>
              <a:rPr lang="fr-FR" sz="1600" dirty="0" err="1"/>
              <a:t>ohne</a:t>
            </a:r>
            <a:r>
              <a:rPr lang="fr-FR" sz="1600" dirty="0"/>
              <a:t> </a:t>
            </a:r>
            <a:r>
              <a:rPr lang="fr-FR" sz="1600" dirty="0" err="1"/>
              <a:t>Begleitung</a:t>
            </a:r>
            <a:r>
              <a:rPr lang="fr-FR" sz="1600" dirty="0"/>
              <a:t> » </a:t>
            </a:r>
            <a:r>
              <a:rPr lang="fr-FR" sz="1600" dirty="0" err="1"/>
              <a:t>müssen</a:t>
            </a:r>
            <a:r>
              <a:rPr lang="fr-FR" sz="1600" dirty="0"/>
              <a:t> </a:t>
            </a:r>
            <a:r>
              <a:rPr lang="fr-FR" sz="1600" dirty="0" err="1"/>
              <a:t>so</a:t>
            </a:r>
            <a:r>
              <a:rPr lang="fr-FR" sz="1600" dirty="0"/>
              <a:t> </a:t>
            </a:r>
            <a:r>
              <a:rPr lang="fr-FR" sz="1600" dirty="0" err="1"/>
              <a:t>kurz</a:t>
            </a:r>
            <a:r>
              <a:rPr lang="fr-FR" sz="1600" dirty="0"/>
              <a:t> </a:t>
            </a:r>
            <a:r>
              <a:rPr lang="fr-FR" sz="1600" dirty="0" err="1"/>
              <a:t>wie</a:t>
            </a:r>
            <a:r>
              <a:rPr lang="fr-FR" sz="1600" dirty="0"/>
              <a:t> </a:t>
            </a:r>
            <a:r>
              <a:rPr lang="fr-FR" sz="1600" dirty="0" err="1"/>
              <a:t>möglich</a:t>
            </a:r>
            <a:r>
              <a:rPr lang="fr-FR" sz="1600" dirty="0"/>
              <a:t> </a:t>
            </a:r>
            <a:r>
              <a:rPr lang="fr-FR" sz="1600" dirty="0" err="1"/>
              <a:t>gehalten</a:t>
            </a:r>
            <a:r>
              <a:rPr lang="fr-FR" sz="1600" dirty="0"/>
              <a:t> </a:t>
            </a:r>
            <a:r>
              <a:rPr lang="fr-FR" sz="1600" dirty="0" err="1"/>
              <a:t>werden</a:t>
            </a:r>
            <a:r>
              <a:rPr lang="fr-FR" sz="1600" dirty="0"/>
              <a:t> </a:t>
            </a:r>
            <a:r>
              <a:rPr lang="fr-FR" sz="1600" dirty="0" err="1"/>
              <a:t>und</a:t>
            </a:r>
            <a:r>
              <a:rPr lang="fr-FR" sz="1600" dirty="0"/>
              <a:t> </a:t>
            </a:r>
            <a:r>
              <a:rPr lang="fr-FR" sz="1600" dirty="0" err="1"/>
              <a:t>dürfen</a:t>
            </a:r>
            <a:r>
              <a:rPr lang="fr-FR" sz="1600" dirty="0"/>
              <a:t> </a:t>
            </a:r>
            <a:r>
              <a:rPr lang="fr-FR" sz="1600" dirty="0" err="1"/>
              <a:t>nicht</a:t>
            </a:r>
            <a:r>
              <a:rPr lang="fr-FR" sz="1600" dirty="0"/>
              <a:t> </a:t>
            </a:r>
            <a:r>
              <a:rPr lang="fr-FR" sz="1600" dirty="0" err="1"/>
              <a:t>mehr</a:t>
            </a:r>
            <a:r>
              <a:rPr lang="fr-FR" sz="1600" dirty="0"/>
              <a:t> </a:t>
            </a:r>
            <a:r>
              <a:rPr lang="fr-FR" sz="1600" dirty="0" err="1"/>
              <a:t>als</a:t>
            </a:r>
            <a:r>
              <a:rPr lang="fr-FR" sz="1600" dirty="0"/>
              <a:t> total 15 </a:t>
            </a:r>
            <a:r>
              <a:rPr lang="fr-FR" sz="1600" dirty="0" err="1"/>
              <a:t>Minuten</a:t>
            </a:r>
            <a:r>
              <a:rPr lang="fr-FR" sz="1600" dirty="0"/>
              <a:t> </a:t>
            </a:r>
            <a:r>
              <a:rPr lang="fr-FR" sz="1600" dirty="0" err="1"/>
              <a:t>überschreiten</a:t>
            </a:r>
            <a:r>
              <a:rPr lang="fr-FR" sz="1600" dirty="0"/>
              <a:t>.</a:t>
            </a:r>
          </a:p>
          <a:p>
            <a:pPr marL="0" indent="0">
              <a:spcAft>
                <a:spcPts val="0"/>
              </a:spcAft>
              <a:buNone/>
            </a:pPr>
            <a:endParaRPr lang="fr-CH" sz="1000" b="1" dirty="0"/>
          </a:p>
          <a:p>
            <a:pPr>
              <a:spcAft>
                <a:spcPts val="0"/>
              </a:spcAft>
              <a:buAutoNum type="arabicPeriod" startAt="2"/>
            </a:pPr>
            <a:r>
              <a:rPr lang="fr-CH" sz="1600" b="1" dirty="0"/>
              <a:t>Der </a:t>
            </a:r>
            <a:r>
              <a:rPr lang="fr-CH" sz="1600" b="1" dirty="0" err="1"/>
              <a:t>Berufsbildner</a:t>
            </a:r>
            <a:r>
              <a:rPr lang="fr-CH" sz="1600" b="1" dirty="0"/>
              <a:t> / in </a:t>
            </a:r>
            <a:r>
              <a:rPr lang="fr-CH" sz="1600" b="1" dirty="0" err="1"/>
              <a:t>sowie</a:t>
            </a:r>
            <a:r>
              <a:rPr lang="fr-CH" sz="1600" b="1" dirty="0"/>
              <a:t> </a:t>
            </a:r>
            <a:r>
              <a:rPr lang="fr-CH" sz="1600" b="1" dirty="0" err="1"/>
              <a:t>andere</a:t>
            </a:r>
            <a:r>
              <a:rPr lang="fr-CH" sz="1600" b="1" dirty="0"/>
              <a:t> </a:t>
            </a:r>
            <a:r>
              <a:rPr lang="fr-CH" sz="1600" b="1" dirty="0" err="1"/>
              <a:t>Teammitglieder</a:t>
            </a:r>
            <a:r>
              <a:rPr lang="fr-CH" sz="1600" b="1" dirty="0"/>
              <a:t> </a:t>
            </a:r>
            <a:r>
              <a:rPr lang="fr-CH" sz="1600" dirty="0" err="1"/>
              <a:t>dürfen</a:t>
            </a:r>
            <a:r>
              <a:rPr lang="fr-CH" sz="1600" dirty="0"/>
              <a:t> </a:t>
            </a:r>
            <a:r>
              <a:rPr lang="fr-CH" sz="1600" dirty="0" err="1"/>
              <a:t>während</a:t>
            </a:r>
            <a:r>
              <a:rPr lang="fr-CH" sz="1600" dirty="0"/>
              <a:t> der 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600" dirty="0"/>
              <a:t>      </a:t>
            </a:r>
            <a:r>
              <a:rPr lang="fr-CH" sz="1600" dirty="0" err="1"/>
              <a:t>Prüfungsphase</a:t>
            </a:r>
            <a:r>
              <a:rPr lang="fr-CH" sz="1600" dirty="0"/>
              <a:t> in </a:t>
            </a:r>
            <a:r>
              <a:rPr lang="fr-CH" sz="1600" dirty="0" err="1"/>
              <a:t>keiner</a:t>
            </a:r>
            <a:r>
              <a:rPr lang="fr-CH" sz="1600" dirty="0"/>
              <a:t> </a:t>
            </a:r>
            <a:r>
              <a:rPr lang="fr-CH" sz="1600" dirty="0" err="1"/>
              <a:t>Zeit</a:t>
            </a:r>
            <a:r>
              <a:rPr lang="fr-CH" sz="1600" dirty="0"/>
              <a:t> </a:t>
            </a:r>
            <a:r>
              <a:rPr lang="fr-CH" sz="1600" dirty="0" err="1"/>
              <a:t>aktiv</a:t>
            </a:r>
            <a:r>
              <a:rPr lang="fr-CH" sz="1600" dirty="0"/>
              <a:t> in den </a:t>
            </a:r>
            <a:r>
              <a:rPr lang="fr-CH" sz="1600" dirty="0" err="1"/>
              <a:t>Prüfungsverlauf</a:t>
            </a:r>
            <a:r>
              <a:rPr lang="fr-CH" sz="1600" dirty="0"/>
              <a:t> </a:t>
            </a:r>
            <a:r>
              <a:rPr lang="fr-CH" sz="1600" dirty="0" err="1"/>
              <a:t>eingreifen</a:t>
            </a:r>
            <a:r>
              <a:rPr lang="fr-CH" sz="1600" dirty="0"/>
              <a:t>, </a:t>
            </a:r>
            <a:r>
              <a:rPr lang="fr-CH" sz="1600" dirty="0" err="1"/>
              <a:t>selbst</a:t>
            </a:r>
            <a:r>
              <a:rPr lang="fr-CH" sz="1600" dirty="0"/>
              <a:t> </a:t>
            </a:r>
            <a:r>
              <a:rPr lang="fr-CH" sz="1600" dirty="0" err="1"/>
              <a:t>dann</a:t>
            </a:r>
            <a:r>
              <a:rPr lang="fr-CH" sz="1600" dirty="0"/>
              <a:t> </a:t>
            </a:r>
            <a:r>
              <a:rPr lang="fr-CH" sz="1600" dirty="0" err="1"/>
              <a:t>nicht</a:t>
            </a:r>
            <a:r>
              <a:rPr lang="fr-CH" sz="1600" dirty="0"/>
              <a:t>,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600" dirty="0"/>
              <a:t>      </a:t>
            </a:r>
            <a:r>
              <a:rPr lang="fr-CH" sz="1600" dirty="0" err="1"/>
              <a:t>wenn</a:t>
            </a:r>
            <a:r>
              <a:rPr lang="fr-CH" sz="1600" dirty="0"/>
              <a:t> er / </a:t>
            </a:r>
            <a:r>
              <a:rPr lang="fr-CH" sz="1600" dirty="0" err="1"/>
              <a:t>sie</a:t>
            </a:r>
            <a:r>
              <a:rPr lang="fr-CH" sz="1600" dirty="0"/>
              <a:t> </a:t>
            </a:r>
            <a:r>
              <a:rPr lang="fr-CH" sz="1600" dirty="0" err="1"/>
              <a:t>am</a:t>
            </a:r>
            <a:r>
              <a:rPr lang="fr-CH" sz="1600" dirty="0"/>
              <a:t> </a:t>
            </a:r>
            <a:r>
              <a:rPr lang="fr-CH" sz="1600" dirty="0" err="1"/>
              <a:t>Prüfungstag</a:t>
            </a:r>
            <a:r>
              <a:rPr lang="fr-CH" sz="1600" dirty="0"/>
              <a:t> </a:t>
            </a:r>
            <a:r>
              <a:rPr lang="fr-CH" sz="1600" dirty="0" err="1"/>
              <a:t>anwesend</a:t>
            </a:r>
            <a:r>
              <a:rPr lang="fr-CH" sz="1600" dirty="0"/>
              <a:t> </a:t>
            </a:r>
            <a:r>
              <a:rPr lang="fr-CH" sz="1600" dirty="0" err="1"/>
              <a:t>ist</a:t>
            </a:r>
            <a:r>
              <a:rPr lang="fr-CH" sz="1600" dirty="0"/>
              <a:t>.</a:t>
            </a:r>
          </a:p>
          <a:p>
            <a:pPr marL="0" indent="0">
              <a:spcAft>
                <a:spcPts val="300"/>
              </a:spcAft>
              <a:buNone/>
            </a:pPr>
            <a:endParaRPr lang="fr-CH" sz="1000" dirty="0"/>
          </a:p>
          <a:p>
            <a:pPr marL="0" indent="0">
              <a:spcAft>
                <a:spcPts val="0"/>
              </a:spcAft>
              <a:buNone/>
            </a:pPr>
            <a:r>
              <a:rPr lang="fr-CH" sz="1600" b="1" dirty="0"/>
              <a:t>3.   Die </a:t>
            </a:r>
            <a:r>
              <a:rPr lang="fr-CH" sz="1600" b="1" dirty="0" err="1"/>
              <a:t>Experten</a:t>
            </a:r>
            <a:r>
              <a:rPr lang="fr-CH" sz="1600" b="1" dirty="0"/>
              <a:t> </a:t>
            </a:r>
            <a:r>
              <a:rPr lang="fr-CH" sz="1600" dirty="0" err="1"/>
              <a:t>begleiten</a:t>
            </a:r>
            <a:r>
              <a:rPr lang="fr-CH" sz="1600" dirty="0"/>
              <a:t> den </a:t>
            </a:r>
            <a:r>
              <a:rPr lang="fr-CH" sz="1600" dirty="0" err="1"/>
              <a:t>Kandidaten</a:t>
            </a:r>
            <a:r>
              <a:rPr lang="fr-CH" sz="1600" dirty="0"/>
              <a:t>/die </a:t>
            </a:r>
            <a:r>
              <a:rPr lang="fr-CH" sz="1600" dirty="0" err="1"/>
              <a:t>Kandidatin</a:t>
            </a:r>
            <a:r>
              <a:rPr lang="fr-CH" sz="1600" dirty="0"/>
              <a:t> </a:t>
            </a:r>
            <a:r>
              <a:rPr lang="fr-CH" sz="1600" dirty="0" err="1"/>
              <a:t>während</a:t>
            </a:r>
            <a:r>
              <a:rPr lang="fr-CH" sz="1600" dirty="0"/>
              <a:t> der  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600" dirty="0"/>
              <a:t>      </a:t>
            </a:r>
            <a:r>
              <a:rPr lang="fr-CH" sz="1600" dirty="0" err="1"/>
              <a:t>vorgesehenen</a:t>
            </a:r>
            <a:r>
              <a:rPr lang="fr-CH" sz="1600" dirty="0"/>
              <a:t> </a:t>
            </a:r>
            <a:r>
              <a:rPr lang="fr-CH" sz="1600" dirty="0" err="1"/>
              <a:t>Prüfungsdauer</a:t>
            </a:r>
            <a:r>
              <a:rPr lang="fr-CH" sz="1600" dirty="0"/>
              <a:t>, </a:t>
            </a:r>
            <a:r>
              <a:rPr lang="fr-CH" sz="1600" dirty="0" err="1"/>
              <a:t>ohne</a:t>
            </a:r>
            <a:r>
              <a:rPr lang="fr-CH" sz="1600" dirty="0"/>
              <a:t> in </a:t>
            </a:r>
            <a:r>
              <a:rPr lang="fr-CH" sz="1600" dirty="0" err="1"/>
              <a:t>irgendeiner</a:t>
            </a:r>
            <a:r>
              <a:rPr lang="fr-CH" sz="1600" dirty="0"/>
              <a:t> Weise in den </a:t>
            </a:r>
            <a:r>
              <a:rPr lang="fr-CH" sz="1600" dirty="0" err="1"/>
              <a:t>Ablauf</a:t>
            </a:r>
            <a:r>
              <a:rPr lang="fr-CH" sz="1600" dirty="0"/>
              <a:t>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600" dirty="0"/>
              <a:t>      </a:t>
            </a:r>
            <a:r>
              <a:rPr lang="fr-CH" sz="1600" dirty="0" err="1"/>
              <a:t>einzugreifen</a:t>
            </a:r>
            <a:r>
              <a:rPr lang="fr-CH" sz="1600" dirty="0"/>
              <a:t>. </a:t>
            </a:r>
            <a:r>
              <a:rPr lang="fr-CH" sz="1600" dirty="0" err="1"/>
              <a:t>Einzige</a:t>
            </a:r>
            <a:r>
              <a:rPr lang="fr-CH" sz="1600" dirty="0"/>
              <a:t> </a:t>
            </a:r>
            <a:r>
              <a:rPr lang="fr-CH" sz="1600" dirty="0" err="1"/>
              <a:t>Ausnahme</a:t>
            </a:r>
            <a:r>
              <a:rPr lang="fr-CH" sz="1600" dirty="0"/>
              <a:t> </a:t>
            </a:r>
            <a:r>
              <a:rPr lang="fr-CH" sz="1600" dirty="0" err="1"/>
              <a:t>sind</a:t>
            </a:r>
            <a:r>
              <a:rPr lang="fr-CH" sz="1600" dirty="0"/>
              <a:t> </a:t>
            </a:r>
            <a:r>
              <a:rPr lang="fr-CH" sz="1600" dirty="0" err="1"/>
              <a:t>Situationen</a:t>
            </a:r>
            <a:r>
              <a:rPr lang="fr-CH" sz="1600" dirty="0"/>
              <a:t>, welche die </a:t>
            </a:r>
            <a:r>
              <a:rPr lang="fr-CH" sz="1600" dirty="0" err="1"/>
              <a:t>Sicherheit</a:t>
            </a:r>
            <a:r>
              <a:rPr lang="fr-CH" sz="1600" dirty="0"/>
              <a:t>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600" dirty="0"/>
              <a:t>      </a:t>
            </a:r>
            <a:r>
              <a:rPr lang="fr-CH" sz="1600" dirty="0" err="1"/>
              <a:t>und</a:t>
            </a:r>
            <a:r>
              <a:rPr lang="fr-CH" sz="1600" dirty="0"/>
              <a:t> / </a:t>
            </a:r>
            <a:r>
              <a:rPr lang="fr-CH" sz="1600" dirty="0" err="1"/>
              <a:t>oder</a:t>
            </a:r>
            <a:r>
              <a:rPr lang="fr-CH" sz="1600" dirty="0"/>
              <a:t> die </a:t>
            </a:r>
            <a:r>
              <a:rPr lang="fr-CH" sz="1600" dirty="0" err="1"/>
              <a:t>Intimsphäre</a:t>
            </a:r>
            <a:r>
              <a:rPr lang="fr-CH" sz="1600" dirty="0"/>
              <a:t> der </a:t>
            </a:r>
            <a:r>
              <a:rPr lang="fr-CH" sz="1600" dirty="0" err="1"/>
              <a:t>betreuten</a:t>
            </a:r>
            <a:r>
              <a:rPr lang="fr-CH" sz="1600" dirty="0"/>
              <a:t> </a:t>
            </a:r>
            <a:r>
              <a:rPr lang="fr-CH" sz="1600" dirty="0" err="1"/>
              <a:t>Personen</a:t>
            </a:r>
            <a:r>
              <a:rPr lang="fr-CH" sz="1600" dirty="0"/>
              <a:t>, die </a:t>
            </a:r>
            <a:r>
              <a:rPr lang="fr-CH" sz="1600" dirty="0" err="1"/>
              <a:t>respektiert</a:t>
            </a:r>
            <a:r>
              <a:rPr lang="fr-CH" sz="1600" dirty="0"/>
              <a:t> </a:t>
            </a:r>
            <a:r>
              <a:rPr lang="fr-CH" sz="1600" dirty="0" err="1"/>
              <a:t>werden</a:t>
            </a:r>
            <a:r>
              <a:rPr lang="fr-CH" sz="1600" dirty="0"/>
              <a:t>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600" dirty="0"/>
              <a:t>      </a:t>
            </a:r>
            <a:r>
              <a:rPr lang="fr-CH" sz="1600" dirty="0" err="1"/>
              <a:t>muss</a:t>
            </a:r>
            <a:r>
              <a:rPr lang="fr-CH" sz="1600" dirty="0"/>
              <a:t>, </a:t>
            </a:r>
            <a:r>
              <a:rPr lang="fr-CH" sz="1600" dirty="0" err="1"/>
              <a:t>gefährden</a:t>
            </a:r>
            <a:r>
              <a:rPr lang="fr-CH" sz="1600" dirty="0"/>
              <a:t>.</a:t>
            </a:r>
          </a:p>
          <a:p>
            <a:pPr marL="0" indent="0">
              <a:spcAft>
                <a:spcPts val="0"/>
              </a:spcAft>
              <a:buNone/>
            </a:pPr>
            <a:endParaRPr lang="fr-CH" sz="1000" dirty="0"/>
          </a:p>
          <a:p>
            <a:pPr>
              <a:spcAft>
                <a:spcPts val="0"/>
              </a:spcAft>
              <a:buAutoNum type="arabicPeriod" startAt="4"/>
            </a:pPr>
            <a:r>
              <a:rPr lang="fr-CH" sz="1600" b="1" dirty="0"/>
              <a:t>Die </a:t>
            </a:r>
            <a:r>
              <a:rPr lang="fr-CH" sz="1600" b="1" dirty="0" err="1"/>
              <a:t>Experten</a:t>
            </a:r>
            <a:r>
              <a:rPr lang="fr-CH" sz="1600" b="1" dirty="0"/>
              <a:t> </a:t>
            </a:r>
            <a:r>
              <a:rPr lang="fr-CH" sz="1600" dirty="0" err="1"/>
              <a:t>geben</a:t>
            </a:r>
            <a:r>
              <a:rPr lang="fr-CH" sz="1600" dirty="0"/>
              <a:t> in </a:t>
            </a:r>
            <a:r>
              <a:rPr lang="fr-CH" sz="1600" dirty="0" err="1"/>
              <a:t>keiner</a:t>
            </a:r>
            <a:r>
              <a:rPr lang="fr-CH" sz="1600" dirty="0"/>
              <a:t> Weise </a:t>
            </a:r>
            <a:r>
              <a:rPr lang="fr-CH" sz="1600" dirty="0" err="1"/>
              <a:t>Auskunft</a:t>
            </a:r>
            <a:r>
              <a:rPr lang="fr-CH" sz="1600" dirty="0"/>
              <a:t> </a:t>
            </a:r>
            <a:r>
              <a:rPr lang="fr-CH" sz="1600" dirty="0" err="1"/>
              <a:t>über</a:t>
            </a:r>
            <a:r>
              <a:rPr lang="fr-CH" sz="1600" dirty="0"/>
              <a:t> die </a:t>
            </a:r>
            <a:r>
              <a:rPr lang="fr-CH" sz="1600" dirty="0" err="1"/>
              <a:t>Benotung</a:t>
            </a:r>
            <a:r>
              <a:rPr lang="fr-CH" sz="1600" dirty="0"/>
              <a:t> der </a:t>
            </a:r>
            <a:r>
              <a:rPr lang="fr-CH" sz="1600" dirty="0" err="1"/>
              <a:t>Prüfung</a:t>
            </a:r>
            <a:r>
              <a:rPr lang="fr-CH" sz="1600" dirty="0"/>
              <a:t>.</a:t>
            </a:r>
          </a:p>
          <a:p>
            <a:pPr marL="0" indent="0">
              <a:spcAft>
                <a:spcPts val="0"/>
              </a:spcAft>
              <a:buNone/>
            </a:pPr>
            <a:endParaRPr lang="fr-CH" sz="1000" dirty="0"/>
          </a:p>
          <a:p>
            <a:pPr>
              <a:spcAft>
                <a:spcPts val="0"/>
              </a:spcAft>
              <a:buAutoNum type="arabicPeriod" startAt="5"/>
            </a:pPr>
            <a:r>
              <a:rPr lang="fr-CH" sz="1600" b="1" dirty="0"/>
              <a:t>Die Institution </a:t>
            </a:r>
            <a:r>
              <a:rPr lang="fr-CH" sz="1600" dirty="0" err="1"/>
              <a:t>ist</a:t>
            </a:r>
            <a:r>
              <a:rPr lang="fr-CH" sz="1600" b="1" dirty="0"/>
              <a:t> </a:t>
            </a:r>
            <a:r>
              <a:rPr lang="fr-CH" sz="1600" dirty="0" err="1"/>
              <a:t>verantwortlich</a:t>
            </a:r>
            <a:r>
              <a:rPr lang="fr-CH" sz="1600" dirty="0"/>
              <a:t>, den </a:t>
            </a:r>
            <a:r>
              <a:rPr lang="fr-CH" sz="1600" dirty="0" err="1"/>
              <a:t>Experten</a:t>
            </a:r>
            <a:r>
              <a:rPr lang="fr-CH" sz="1600" dirty="0"/>
              <a:t> </a:t>
            </a:r>
            <a:r>
              <a:rPr lang="fr-CH" sz="1600" dirty="0" err="1"/>
              <a:t>für</a:t>
            </a:r>
            <a:r>
              <a:rPr lang="fr-CH" sz="1600" dirty="0"/>
              <a:t> die </a:t>
            </a:r>
            <a:r>
              <a:rPr lang="fr-CH" sz="1600" dirty="0" err="1"/>
              <a:t>Praxisaufgabe</a:t>
            </a:r>
            <a:r>
              <a:rPr lang="fr-CH" sz="1600" dirty="0"/>
              <a:t> 1, </a:t>
            </a:r>
            <a:r>
              <a:rPr lang="fr-CH" sz="1600" dirty="0" err="1"/>
              <a:t>für</a:t>
            </a:r>
            <a:r>
              <a:rPr lang="fr-CH" sz="1600" dirty="0"/>
              <a:t> </a:t>
            </a:r>
            <a:r>
              <a:rPr lang="fr-CH" sz="1600" dirty="0" err="1"/>
              <a:t>das</a:t>
            </a:r>
            <a:r>
              <a:rPr lang="fr-CH" sz="1600" dirty="0"/>
              <a:t> </a:t>
            </a:r>
            <a:r>
              <a:rPr lang="fr-CH" sz="1600" dirty="0" err="1"/>
              <a:t>Vorbereiten</a:t>
            </a:r>
            <a:r>
              <a:rPr lang="fr-CH" sz="1600" dirty="0"/>
              <a:t> des </a:t>
            </a:r>
            <a:r>
              <a:rPr lang="fr-CH" sz="1600" dirty="0" err="1"/>
              <a:t>Fachgespräches</a:t>
            </a:r>
            <a:r>
              <a:rPr lang="fr-CH" sz="1600" dirty="0"/>
              <a:t>, </a:t>
            </a:r>
            <a:r>
              <a:rPr lang="fr-CH" sz="1600" dirty="0" err="1"/>
              <a:t>für</a:t>
            </a:r>
            <a:r>
              <a:rPr lang="fr-CH" sz="1600" dirty="0"/>
              <a:t> </a:t>
            </a:r>
            <a:r>
              <a:rPr lang="fr-CH" sz="1600" dirty="0" err="1"/>
              <a:t>das</a:t>
            </a:r>
            <a:r>
              <a:rPr lang="fr-CH" sz="1600" dirty="0"/>
              <a:t> </a:t>
            </a:r>
            <a:r>
              <a:rPr lang="fr-CH" sz="1600" dirty="0" err="1"/>
              <a:t>Fachgespräch</a:t>
            </a:r>
            <a:r>
              <a:rPr lang="fr-CH" sz="1600" dirty="0"/>
              <a:t> </a:t>
            </a:r>
            <a:r>
              <a:rPr lang="fr-CH" sz="1600" dirty="0" err="1"/>
              <a:t>und</a:t>
            </a:r>
            <a:r>
              <a:rPr lang="fr-CH" sz="1600" dirty="0"/>
              <a:t> </a:t>
            </a:r>
            <a:r>
              <a:rPr lang="fr-CH" sz="1600" dirty="0" err="1"/>
              <a:t>für</a:t>
            </a:r>
            <a:r>
              <a:rPr lang="fr-CH" sz="1600" dirty="0"/>
              <a:t> </a:t>
            </a:r>
            <a:r>
              <a:rPr lang="fr-CH" sz="1600" dirty="0" err="1"/>
              <a:t>das</a:t>
            </a:r>
            <a:r>
              <a:rPr lang="fr-CH" sz="1600" dirty="0"/>
              <a:t> </a:t>
            </a:r>
            <a:r>
              <a:rPr lang="fr-CH" sz="1600" dirty="0" err="1"/>
              <a:t>Bewerten</a:t>
            </a:r>
            <a:r>
              <a:rPr lang="fr-CH" sz="1600" dirty="0"/>
              <a:t> der </a:t>
            </a:r>
            <a:r>
              <a:rPr lang="fr-CH" sz="1600" dirty="0" err="1"/>
              <a:t>praktischen</a:t>
            </a:r>
            <a:r>
              <a:rPr lang="fr-CH" sz="1600" dirty="0"/>
              <a:t> </a:t>
            </a:r>
            <a:r>
              <a:rPr lang="fr-CH" sz="1600" dirty="0" err="1"/>
              <a:t>Prüfung</a:t>
            </a:r>
            <a:r>
              <a:rPr lang="fr-CH" sz="1600" dirty="0"/>
              <a:t> </a:t>
            </a:r>
            <a:r>
              <a:rPr lang="fr-CH" sz="1600" dirty="0" err="1"/>
              <a:t>einen</a:t>
            </a:r>
            <a:r>
              <a:rPr lang="fr-CH" sz="1600" dirty="0"/>
              <a:t> </a:t>
            </a:r>
            <a:r>
              <a:rPr lang="fr-CH" sz="1600" dirty="0" err="1"/>
              <a:t>ruhigen</a:t>
            </a:r>
            <a:r>
              <a:rPr lang="fr-CH" sz="1600" dirty="0"/>
              <a:t>, </a:t>
            </a:r>
            <a:r>
              <a:rPr lang="fr-CH" sz="1600" dirty="0" err="1"/>
              <a:t>separaten</a:t>
            </a:r>
            <a:r>
              <a:rPr lang="fr-CH" sz="1600" dirty="0"/>
              <a:t> </a:t>
            </a:r>
            <a:r>
              <a:rPr lang="fr-CH" sz="1600" dirty="0" err="1"/>
              <a:t>Raum</a:t>
            </a:r>
            <a:r>
              <a:rPr lang="fr-CH" sz="1600" dirty="0"/>
              <a:t> </a:t>
            </a:r>
            <a:r>
              <a:rPr lang="fr-CH" sz="1600" dirty="0" err="1"/>
              <a:t>zur</a:t>
            </a:r>
            <a:r>
              <a:rPr lang="fr-CH" sz="1600" dirty="0"/>
              <a:t> </a:t>
            </a:r>
            <a:r>
              <a:rPr lang="fr-CH" sz="1600" dirty="0" err="1"/>
              <a:t>Verfügung</a:t>
            </a:r>
            <a:r>
              <a:rPr lang="fr-CH" sz="1600" dirty="0"/>
              <a:t> </a:t>
            </a:r>
            <a:r>
              <a:rPr lang="fr-CH" sz="1600" dirty="0" err="1"/>
              <a:t>zu</a:t>
            </a:r>
            <a:r>
              <a:rPr lang="fr-CH" sz="1600" dirty="0"/>
              <a:t> </a:t>
            </a:r>
            <a:r>
              <a:rPr lang="fr-CH" sz="1600" dirty="0" err="1"/>
              <a:t>stellen</a:t>
            </a:r>
            <a:r>
              <a:rPr lang="fr-CH" sz="1600" dirty="0"/>
              <a:t>. </a:t>
            </a:r>
            <a:r>
              <a:rPr lang="fr-CH" sz="1600" dirty="0" err="1"/>
              <a:t>Für</a:t>
            </a:r>
            <a:r>
              <a:rPr lang="fr-CH" sz="1600" dirty="0"/>
              <a:t> </a:t>
            </a:r>
            <a:r>
              <a:rPr lang="fr-CH" sz="1600" dirty="0" err="1"/>
              <a:t>das</a:t>
            </a:r>
            <a:r>
              <a:rPr lang="fr-CH" sz="1600" dirty="0"/>
              <a:t> </a:t>
            </a:r>
            <a:r>
              <a:rPr lang="fr-CH" sz="1600" dirty="0" err="1"/>
              <a:t>Vorbereiten</a:t>
            </a:r>
            <a:r>
              <a:rPr lang="fr-CH" sz="1600" dirty="0"/>
              <a:t> des </a:t>
            </a:r>
            <a:r>
              <a:rPr lang="fr-CH" sz="1600" dirty="0" err="1"/>
              <a:t>Fachgespräches</a:t>
            </a:r>
            <a:r>
              <a:rPr lang="fr-CH" sz="1600" dirty="0"/>
              <a:t> </a:t>
            </a:r>
            <a:r>
              <a:rPr lang="fr-CH" sz="1600" dirty="0" err="1"/>
              <a:t>muss</a:t>
            </a:r>
            <a:r>
              <a:rPr lang="fr-CH" sz="1600" dirty="0"/>
              <a:t> </a:t>
            </a:r>
            <a:r>
              <a:rPr lang="fr-CH" sz="1600" dirty="0" err="1"/>
              <a:t>auch</a:t>
            </a:r>
            <a:r>
              <a:rPr lang="fr-CH" sz="1600" dirty="0"/>
              <a:t> </a:t>
            </a:r>
            <a:r>
              <a:rPr lang="fr-CH" sz="1600" dirty="0" err="1"/>
              <a:t>ein</a:t>
            </a:r>
            <a:r>
              <a:rPr lang="fr-CH" sz="1600" dirty="0"/>
              <a:t> </a:t>
            </a:r>
            <a:r>
              <a:rPr lang="fr-CH" sz="1600" dirty="0" err="1"/>
              <a:t>separater</a:t>
            </a:r>
            <a:r>
              <a:rPr lang="fr-CH" sz="1600" dirty="0"/>
              <a:t> </a:t>
            </a:r>
            <a:r>
              <a:rPr lang="fr-CH" sz="1600" dirty="0" err="1"/>
              <a:t>Raum</a:t>
            </a:r>
            <a:r>
              <a:rPr lang="fr-CH" sz="1600" dirty="0"/>
              <a:t> </a:t>
            </a:r>
            <a:r>
              <a:rPr lang="fr-CH" sz="1600" dirty="0" err="1"/>
              <a:t>für</a:t>
            </a:r>
            <a:r>
              <a:rPr lang="fr-CH" sz="1600" dirty="0"/>
              <a:t> den/die </a:t>
            </a:r>
            <a:r>
              <a:rPr lang="fr-CH" sz="1600" dirty="0" err="1"/>
              <a:t>Kandidat</a:t>
            </a:r>
            <a:r>
              <a:rPr lang="fr-CH" sz="1600" dirty="0"/>
              <a:t>-in </a:t>
            </a:r>
            <a:r>
              <a:rPr lang="fr-CH" sz="1600" dirty="0" err="1"/>
              <a:t>zur</a:t>
            </a:r>
            <a:r>
              <a:rPr lang="fr-CH" sz="1600" dirty="0"/>
              <a:t> </a:t>
            </a:r>
            <a:r>
              <a:rPr lang="fr-CH" sz="1600" dirty="0" err="1"/>
              <a:t>Verfügung</a:t>
            </a:r>
            <a:r>
              <a:rPr lang="fr-CH" sz="1600" dirty="0"/>
              <a:t> </a:t>
            </a:r>
            <a:r>
              <a:rPr lang="fr-CH" sz="1600" dirty="0" err="1"/>
              <a:t>gestellt</a:t>
            </a:r>
            <a:r>
              <a:rPr lang="fr-CH" sz="1600" dirty="0"/>
              <a:t> </a:t>
            </a:r>
            <a:r>
              <a:rPr lang="fr-CH" sz="1600" dirty="0" err="1"/>
              <a:t>werden</a:t>
            </a:r>
            <a:r>
              <a:rPr lang="fr-CH" sz="1600" dirty="0"/>
              <a:t>.</a:t>
            </a:r>
          </a:p>
          <a:p>
            <a:pPr marL="0" indent="0">
              <a:spcAft>
                <a:spcPts val="0"/>
              </a:spcAft>
              <a:buNone/>
            </a:pPr>
            <a:endParaRPr lang="fr-CH" sz="400" dirty="0"/>
          </a:p>
          <a:p>
            <a:pPr>
              <a:spcAft>
                <a:spcPts val="0"/>
              </a:spcAft>
              <a:buAutoNum type="arabicPeriod" startAt="5"/>
            </a:pPr>
            <a:endParaRPr lang="fr-FR" sz="400" b="1" dirty="0"/>
          </a:p>
          <a:p>
            <a:pPr marL="0" indent="0">
              <a:spcAft>
                <a:spcPts val="0"/>
              </a:spcAft>
              <a:buNone/>
            </a:pPr>
            <a:r>
              <a:rPr lang="fr-FR" sz="1600" b="1" dirty="0"/>
              <a:t>6.   </a:t>
            </a:r>
            <a:r>
              <a:rPr lang="fr-FR" sz="1600" b="1" dirty="0" err="1"/>
              <a:t>Berufsbildner</a:t>
            </a:r>
            <a:r>
              <a:rPr lang="fr-FR" sz="1600" b="1" dirty="0"/>
              <a:t>-In </a:t>
            </a:r>
            <a:r>
              <a:rPr lang="fr-FR" sz="1600" dirty="0" err="1"/>
              <a:t>organisieren</a:t>
            </a:r>
            <a:r>
              <a:rPr lang="fr-FR" sz="1600" dirty="0"/>
              <a:t> </a:t>
            </a:r>
            <a:r>
              <a:rPr lang="fr-FR" sz="1600" dirty="0" err="1"/>
              <a:t>Probeprüfungen</a:t>
            </a:r>
            <a:r>
              <a:rPr lang="fr-FR" sz="1600" dirty="0"/>
              <a:t> (examen en blanc)</a:t>
            </a:r>
            <a:endParaRPr lang="fr-CH" sz="1600" dirty="0"/>
          </a:p>
        </p:txBody>
      </p:sp>
    </p:spTree>
    <p:extLst>
      <p:ext uri="{BB962C8B-B14F-4D97-AF65-F5344CB8AC3E}">
        <p14:creationId xmlns:p14="http://schemas.microsoft.com/office/powerpoint/2010/main" val="1907628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1"/>
            <a:ext cx="8242300" cy="603919"/>
          </a:xfrm>
        </p:spPr>
        <p:txBody>
          <a:bodyPr/>
          <a:lstStyle/>
          <a:p>
            <a:pPr algn="ctr"/>
            <a:r>
              <a:rPr lang="fr-CH" dirty="0">
                <a:latin typeface="Lucida Sans" pitchFamily="34" charset="0"/>
              </a:rPr>
              <a:t>EFZ FABE:  </a:t>
            </a:r>
            <a:r>
              <a:rPr lang="fr-CH" dirty="0" err="1">
                <a:latin typeface="Lucida Sans" pitchFamily="34" charset="0"/>
              </a:rPr>
              <a:t>praktische</a:t>
            </a:r>
            <a:r>
              <a:rPr lang="fr-CH" dirty="0">
                <a:latin typeface="Lucida Sans" pitchFamily="34" charset="0"/>
              </a:rPr>
              <a:t> </a:t>
            </a:r>
            <a:r>
              <a:rPr lang="fr-CH" dirty="0" err="1">
                <a:latin typeface="Lucida Sans" pitchFamily="34" charset="0"/>
              </a:rPr>
              <a:t>Prüfung</a:t>
            </a:r>
            <a:r>
              <a:rPr lang="fr-CH" dirty="0">
                <a:latin typeface="Lucida Sans" pitchFamily="34" charset="0"/>
              </a:rPr>
              <a:t> VPA</a:t>
            </a:r>
            <a:br>
              <a:rPr lang="fr-CH" dirty="0">
                <a:latin typeface="Lucida Sans" pitchFamily="34" charset="0"/>
              </a:rPr>
            </a:br>
            <a:br>
              <a:rPr lang="fr-CH" dirty="0">
                <a:latin typeface="Lucida Sans" pitchFamily="34" charset="0"/>
              </a:rPr>
            </a:br>
            <a:r>
              <a:rPr lang="fr-CH" dirty="0" err="1">
                <a:latin typeface="Lucida Sans" pitchFamily="34" charset="0"/>
              </a:rPr>
              <a:t>Beurteilung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505867" y="1052736"/>
            <a:ext cx="8242300" cy="4824536"/>
          </a:xfrm>
        </p:spPr>
        <p:txBody>
          <a:bodyPr/>
          <a:lstStyle/>
          <a:p>
            <a:pPr algn="just">
              <a:buNone/>
            </a:pPr>
            <a:endParaRPr lang="fr-FR" sz="1400" dirty="0"/>
          </a:p>
          <a:p>
            <a:pPr algn="just">
              <a:buNone/>
            </a:pPr>
            <a:endParaRPr lang="fr-CH" sz="1800" b="1" dirty="0"/>
          </a:p>
          <a:p>
            <a:pPr algn="just">
              <a:buNone/>
            </a:pPr>
            <a:endParaRPr lang="fr-CH" sz="800" b="1" dirty="0"/>
          </a:p>
          <a:p>
            <a:pPr algn="just">
              <a:spcAft>
                <a:spcPts val="0"/>
              </a:spcAft>
              <a:buNone/>
            </a:pPr>
            <a:r>
              <a:rPr lang="fr-CH" sz="1800" b="1" dirty="0"/>
              <a:t>Die Evaluation </a:t>
            </a:r>
            <a:r>
              <a:rPr lang="fr-CH" sz="1800" dirty="0" err="1"/>
              <a:t>erfolgt</a:t>
            </a:r>
            <a:r>
              <a:rPr lang="fr-CH" sz="1800" dirty="0"/>
              <a:t> </a:t>
            </a:r>
            <a:r>
              <a:rPr lang="fr-CH" sz="1800" dirty="0" err="1"/>
              <a:t>auf</a:t>
            </a:r>
            <a:r>
              <a:rPr lang="fr-CH" sz="1800" dirty="0"/>
              <a:t> der Basis der </a:t>
            </a:r>
            <a:r>
              <a:rPr lang="fr-CH" sz="1800" dirty="0" err="1"/>
              <a:t>Bewertungsraster</a:t>
            </a:r>
            <a:r>
              <a:rPr lang="fr-CH" sz="1800" dirty="0"/>
              <a:t> der </a:t>
            </a:r>
            <a:r>
              <a:rPr lang="fr-CH" sz="1800" dirty="0" err="1"/>
              <a:t>vorgegebenen</a:t>
            </a:r>
            <a:endParaRPr lang="fr-CH" sz="1800" dirty="0"/>
          </a:p>
          <a:p>
            <a:pPr algn="just">
              <a:spcAft>
                <a:spcPts val="0"/>
              </a:spcAft>
              <a:buNone/>
            </a:pPr>
            <a:r>
              <a:rPr lang="fr-CH" sz="1800" dirty="0" err="1"/>
              <a:t>praktischen</a:t>
            </a:r>
            <a:r>
              <a:rPr lang="fr-CH" sz="1800" dirty="0"/>
              <a:t> </a:t>
            </a:r>
            <a:r>
              <a:rPr lang="fr-CH" sz="1800" dirty="0" err="1"/>
              <a:t>Arbeit</a:t>
            </a:r>
            <a:r>
              <a:rPr lang="fr-CH" sz="1800" dirty="0"/>
              <a:t> 2025, (</a:t>
            </a:r>
            <a:r>
              <a:rPr lang="fr-CH" sz="1800" dirty="0" err="1"/>
              <a:t>siehe</a:t>
            </a:r>
            <a:r>
              <a:rPr lang="fr-CH" sz="1800" dirty="0"/>
              <a:t> </a:t>
            </a:r>
            <a:r>
              <a:rPr lang="fr-CH" sz="1800" dirty="0" err="1"/>
              <a:t>folgenden</a:t>
            </a:r>
            <a:r>
              <a:rPr lang="fr-CH" sz="1800" dirty="0"/>
              <a:t> Link pro </a:t>
            </a:r>
            <a:r>
              <a:rPr lang="fr-CH" sz="1800" dirty="0" err="1"/>
              <a:t>Fachbereich</a:t>
            </a:r>
            <a:r>
              <a:rPr lang="fr-CH" sz="1800" dirty="0"/>
              <a:t>) : </a:t>
            </a:r>
          </a:p>
          <a:p>
            <a:pPr algn="just">
              <a:spcAft>
                <a:spcPts val="0"/>
              </a:spcAft>
              <a:buNone/>
            </a:pPr>
            <a:endParaRPr lang="fr-CH" sz="1200" dirty="0"/>
          </a:p>
          <a:p>
            <a:pPr algn="just">
              <a:spcAft>
                <a:spcPts val="600"/>
              </a:spcAft>
              <a:buNone/>
            </a:pPr>
            <a:r>
              <a:rPr lang="fr-CH" sz="1600" dirty="0" err="1">
                <a:hlinkClick r:id="rId4"/>
              </a:rPr>
              <a:t>Bewertungsraster</a:t>
            </a:r>
            <a:r>
              <a:rPr lang="fr-CH" sz="1600" dirty="0">
                <a:hlinkClick r:id="rId4"/>
              </a:rPr>
              <a:t> </a:t>
            </a:r>
            <a:r>
              <a:rPr lang="fr-CH" sz="1600" dirty="0" err="1">
                <a:hlinkClick r:id="rId4"/>
              </a:rPr>
              <a:t>praktische</a:t>
            </a:r>
            <a:r>
              <a:rPr lang="fr-CH" sz="1600" dirty="0">
                <a:hlinkClick r:id="rId4"/>
              </a:rPr>
              <a:t> </a:t>
            </a:r>
            <a:r>
              <a:rPr lang="fr-CH" sz="1600" dirty="0" err="1">
                <a:hlinkClick r:id="rId4"/>
              </a:rPr>
              <a:t>Prüfung</a:t>
            </a:r>
            <a:r>
              <a:rPr lang="fr-CH" sz="1600" dirty="0">
                <a:hlinkClick r:id="rId4"/>
              </a:rPr>
              <a:t> Kinder / </a:t>
            </a:r>
            <a:r>
              <a:rPr lang="fr-CH" sz="1600" dirty="0" err="1">
                <a:hlinkClick r:id="rId4"/>
              </a:rPr>
              <a:t>Behinderte</a:t>
            </a:r>
            <a:r>
              <a:rPr lang="fr-CH" sz="1600" dirty="0">
                <a:hlinkClick r:id="rId4"/>
              </a:rPr>
              <a:t> / </a:t>
            </a:r>
            <a:r>
              <a:rPr lang="fr-CH" sz="1600" dirty="0" err="1">
                <a:hlinkClick r:id="rId4"/>
              </a:rPr>
              <a:t>Betagte</a:t>
            </a:r>
            <a:endParaRPr lang="fr-CH" sz="1600" dirty="0"/>
          </a:p>
          <a:p>
            <a:pPr algn="just">
              <a:spcAft>
                <a:spcPts val="0"/>
              </a:spcAft>
              <a:buNone/>
            </a:pPr>
            <a:endParaRPr lang="fr-CH" sz="1800" dirty="0"/>
          </a:p>
          <a:p>
            <a:pPr>
              <a:spcAft>
                <a:spcPts val="600"/>
              </a:spcAft>
              <a:buNone/>
            </a:pPr>
            <a:r>
              <a:rPr lang="fr-CH" sz="1800" dirty="0"/>
              <a:t>1.   Die </a:t>
            </a:r>
            <a:r>
              <a:rPr lang="fr-CH" sz="1800" dirty="0" err="1"/>
              <a:t>Schlussnote</a:t>
            </a:r>
            <a:r>
              <a:rPr lang="fr-CH" sz="1800" dirty="0"/>
              <a:t> der </a:t>
            </a:r>
            <a:r>
              <a:rPr lang="fr-CH" sz="1800" dirty="0" err="1"/>
              <a:t>praktischen</a:t>
            </a:r>
            <a:r>
              <a:rPr lang="fr-CH" sz="1800" dirty="0"/>
              <a:t> </a:t>
            </a:r>
            <a:r>
              <a:rPr lang="fr-CH" sz="1800" dirty="0" err="1"/>
              <a:t>Prüfung</a:t>
            </a:r>
            <a:r>
              <a:rPr lang="fr-CH" sz="1800" dirty="0"/>
              <a:t> : die </a:t>
            </a:r>
            <a:r>
              <a:rPr lang="fr-CH" sz="1800" dirty="0" err="1"/>
              <a:t>Gesamtsumme</a:t>
            </a:r>
            <a:r>
              <a:rPr lang="fr-CH" sz="1800" dirty="0"/>
              <a:t> der </a:t>
            </a:r>
            <a:r>
              <a:rPr lang="fr-CH" sz="1800" dirty="0" err="1"/>
              <a:t>erreichten</a:t>
            </a:r>
            <a:r>
              <a:rPr lang="fr-CH" sz="1800" dirty="0"/>
              <a:t> </a:t>
            </a:r>
            <a:r>
              <a:rPr lang="fr-CH" sz="1800" dirty="0" err="1"/>
              <a:t>Punktzahl</a:t>
            </a:r>
            <a:r>
              <a:rPr lang="fr-CH" sz="1800" dirty="0"/>
              <a:t> aller 4 </a:t>
            </a:r>
            <a:r>
              <a:rPr lang="fr-CH" sz="1800" dirty="0" err="1"/>
              <a:t>Praxisaufgaben</a:t>
            </a:r>
            <a:r>
              <a:rPr lang="fr-CH" sz="1800" dirty="0"/>
              <a:t> </a:t>
            </a:r>
            <a:r>
              <a:rPr lang="fr-CH" sz="1800" dirty="0" err="1"/>
              <a:t>entspricht</a:t>
            </a:r>
            <a:r>
              <a:rPr lang="fr-CH" sz="1800" dirty="0"/>
              <a:t> 70 % der </a:t>
            </a:r>
            <a:r>
              <a:rPr lang="fr-CH" sz="1800" dirty="0" err="1"/>
              <a:t>Schlussnote</a:t>
            </a:r>
            <a:r>
              <a:rPr lang="fr-CH" sz="1800" dirty="0"/>
              <a:t>. Die Summer der </a:t>
            </a:r>
            <a:r>
              <a:rPr lang="fr-CH" sz="1800" dirty="0" err="1"/>
              <a:t>erreichten</a:t>
            </a:r>
            <a:r>
              <a:rPr lang="fr-CH" sz="1800" dirty="0"/>
              <a:t> </a:t>
            </a:r>
            <a:r>
              <a:rPr lang="fr-CH" sz="1800" dirty="0" err="1"/>
              <a:t>Punktzahl</a:t>
            </a:r>
            <a:r>
              <a:rPr lang="fr-CH" sz="1800" dirty="0"/>
              <a:t> </a:t>
            </a:r>
            <a:r>
              <a:rPr lang="fr-CH" sz="1800" dirty="0" err="1"/>
              <a:t>für</a:t>
            </a:r>
            <a:r>
              <a:rPr lang="fr-CH" sz="1800" dirty="0"/>
              <a:t> </a:t>
            </a:r>
            <a:r>
              <a:rPr lang="fr-CH" sz="1800" dirty="0" err="1"/>
              <a:t>das</a:t>
            </a:r>
            <a:r>
              <a:rPr lang="fr-CH" sz="1800" dirty="0"/>
              <a:t> </a:t>
            </a:r>
            <a:r>
              <a:rPr lang="fr-CH" sz="1800" dirty="0" err="1"/>
              <a:t>Fachgespräch</a:t>
            </a:r>
            <a:r>
              <a:rPr lang="fr-CH" sz="1800" dirty="0"/>
              <a:t> </a:t>
            </a:r>
            <a:r>
              <a:rPr lang="fr-CH" sz="1800" dirty="0" err="1"/>
              <a:t>entspricht</a:t>
            </a:r>
            <a:r>
              <a:rPr lang="fr-CH" sz="1800" dirty="0"/>
              <a:t> 30 % der </a:t>
            </a:r>
            <a:r>
              <a:rPr lang="fr-CH" sz="1800" dirty="0" err="1"/>
              <a:t>Schlussnote</a:t>
            </a:r>
            <a:r>
              <a:rPr lang="fr-CH" sz="1800" dirty="0"/>
              <a:t>.</a:t>
            </a:r>
          </a:p>
          <a:p>
            <a:pPr>
              <a:spcAft>
                <a:spcPts val="600"/>
              </a:spcAft>
              <a:buNone/>
            </a:pPr>
            <a:r>
              <a:rPr lang="fr-CH" sz="1800" dirty="0"/>
              <a:t>2.   </a:t>
            </a:r>
            <a:r>
              <a:rPr lang="fr-CH" sz="1800" b="1" dirty="0"/>
              <a:t>Note </a:t>
            </a:r>
            <a:r>
              <a:rPr lang="fr-CH" sz="1800" b="1" dirty="0" err="1"/>
              <a:t>praktische</a:t>
            </a:r>
            <a:r>
              <a:rPr lang="fr-CH" sz="1800" b="1" dirty="0"/>
              <a:t> </a:t>
            </a:r>
            <a:r>
              <a:rPr lang="fr-CH" sz="1800" b="1" dirty="0" err="1"/>
              <a:t>Prüfung</a:t>
            </a:r>
            <a:r>
              <a:rPr lang="fr-CH" sz="1800" b="1" dirty="0"/>
              <a:t> = </a:t>
            </a:r>
            <a:r>
              <a:rPr lang="fr-CH" sz="1800" b="1" dirty="0" err="1"/>
              <a:t>Koeffizient</a:t>
            </a:r>
            <a:r>
              <a:rPr lang="fr-CH" sz="1800" b="1" dirty="0"/>
              <a:t> 2</a:t>
            </a:r>
          </a:p>
          <a:p>
            <a:pPr>
              <a:spcAft>
                <a:spcPts val="600"/>
              </a:spcAft>
              <a:buNone/>
            </a:pPr>
            <a:r>
              <a:rPr lang="fr-CH" sz="1800" dirty="0"/>
              <a:t>3.   </a:t>
            </a:r>
            <a:r>
              <a:rPr lang="fr-CH" sz="1800" b="1" dirty="0"/>
              <a:t>Die Note </a:t>
            </a:r>
            <a:r>
              <a:rPr lang="fr-CH" sz="1800" b="1" dirty="0" err="1"/>
              <a:t>im</a:t>
            </a:r>
            <a:r>
              <a:rPr lang="fr-CH" sz="1800" b="1" dirty="0"/>
              <a:t> </a:t>
            </a:r>
            <a:r>
              <a:rPr lang="fr-CH" sz="1800" b="1" dirty="0" err="1"/>
              <a:t>Qualifikationsbereich</a:t>
            </a:r>
            <a:r>
              <a:rPr lang="fr-CH" sz="1800" b="1" dirty="0"/>
              <a:t> « </a:t>
            </a:r>
            <a:r>
              <a:rPr lang="fr-CH" sz="1800" b="1" dirty="0" err="1"/>
              <a:t>praktische</a:t>
            </a:r>
            <a:r>
              <a:rPr lang="fr-CH" sz="1800" b="1" dirty="0"/>
              <a:t> </a:t>
            </a:r>
            <a:r>
              <a:rPr lang="fr-CH" sz="1800" b="1" dirty="0" err="1"/>
              <a:t>Arbeit</a:t>
            </a:r>
            <a:r>
              <a:rPr lang="fr-CH" sz="1800" b="1" dirty="0"/>
              <a:t> » </a:t>
            </a:r>
            <a:r>
              <a:rPr lang="fr-CH" sz="1800" b="1" dirty="0" err="1"/>
              <a:t>ist</a:t>
            </a:r>
            <a:r>
              <a:rPr lang="fr-CH" sz="1800" b="1" dirty="0"/>
              <a:t> </a:t>
            </a:r>
            <a:r>
              <a:rPr lang="fr-CH" sz="1800" b="1" dirty="0" err="1"/>
              <a:t>prüfungsent</a:t>
            </a:r>
            <a:r>
              <a:rPr lang="fr-CH" sz="1800" b="1" dirty="0"/>
              <a:t>-</a:t>
            </a:r>
            <a:r>
              <a:rPr lang="fr-CH" sz="1800" b="1" dirty="0" err="1"/>
              <a:t>scheidend</a:t>
            </a:r>
            <a:r>
              <a:rPr lang="fr-CH" sz="1800" b="1" dirty="0"/>
              <a:t>, da </a:t>
            </a:r>
            <a:r>
              <a:rPr lang="fr-CH" sz="1800" b="1" dirty="0" err="1"/>
              <a:t>sie</a:t>
            </a:r>
            <a:r>
              <a:rPr lang="fr-CH" sz="1800" b="1" dirty="0"/>
              <a:t> mit der Note 4 </a:t>
            </a:r>
            <a:r>
              <a:rPr lang="fr-CH" sz="1800" b="1" dirty="0" err="1"/>
              <a:t>oder</a:t>
            </a:r>
            <a:r>
              <a:rPr lang="fr-CH" sz="1800" b="1" dirty="0"/>
              <a:t> </a:t>
            </a:r>
            <a:r>
              <a:rPr lang="fr-CH" sz="1800" b="1" dirty="0" err="1"/>
              <a:t>höher</a:t>
            </a:r>
            <a:r>
              <a:rPr lang="fr-CH" sz="1800" b="1" dirty="0"/>
              <a:t> </a:t>
            </a:r>
            <a:r>
              <a:rPr lang="fr-CH" sz="1800" b="1" dirty="0" err="1"/>
              <a:t>bewertet</a:t>
            </a:r>
            <a:r>
              <a:rPr lang="fr-CH" sz="1800" b="1" dirty="0"/>
              <a:t> sein </a:t>
            </a:r>
            <a:r>
              <a:rPr lang="fr-CH" sz="1800" b="1" dirty="0" err="1"/>
              <a:t>muss</a:t>
            </a:r>
            <a:r>
              <a:rPr lang="fr-CH" sz="1800" b="1" dirty="0"/>
              <a:t>. Bei </a:t>
            </a:r>
            <a:r>
              <a:rPr lang="fr-CH" sz="1800" b="1" dirty="0" err="1"/>
              <a:t>einer</a:t>
            </a:r>
            <a:r>
              <a:rPr lang="fr-CH" sz="1800" b="1" dirty="0"/>
              <a:t> Note </a:t>
            </a:r>
            <a:r>
              <a:rPr lang="fr-CH" sz="1800" b="1" dirty="0" err="1"/>
              <a:t>unter</a:t>
            </a:r>
            <a:r>
              <a:rPr lang="fr-CH" sz="1800" b="1" dirty="0"/>
              <a:t> 4 </a:t>
            </a:r>
            <a:r>
              <a:rPr lang="fr-CH" sz="1800" b="1" dirty="0" err="1"/>
              <a:t>gilt</a:t>
            </a:r>
            <a:r>
              <a:rPr lang="fr-CH" sz="1800" b="1" dirty="0"/>
              <a:t> </a:t>
            </a:r>
            <a:r>
              <a:rPr lang="fr-CH" sz="1800" b="1" dirty="0" err="1"/>
              <a:t>das</a:t>
            </a:r>
            <a:r>
              <a:rPr lang="fr-CH" sz="1800" b="1" dirty="0"/>
              <a:t> </a:t>
            </a:r>
            <a:r>
              <a:rPr lang="fr-CH" sz="1800" b="1" dirty="0" err="1"/>
              <a:t>Qualifikationsverfahren</a:t>
            </a:r>
            <a:r>
              <a:rPr lang="fr-CH" sz="1800" b="1" dirty="0"/>
              <a:t> </a:t>
            </a:r>
            <a:r>
              <a:rPr lang="fr-CH" sz="1800" b="1" dirty="0" err="1"/>
              <a:t>als</a:t>
            </a:r>
            <a:r>
              <a:rPr lang="fr-CH" sz="1800" b="1" dirty="0"/>
              <a:t> </a:t>
            </a:r>
            <a:r>
              <a:rPr lang="fr-CH" sz="1800" b="1" dirty="0" err="1"/>
              <a:t>nicht</a:t>
            </a:r>
            <a:r>
              <a:rPr lang="fr-CH" sz="1800" b="1" dirty="0"/>
              <a:t> </a:t>
            </a:r>
            <a:r>
              <a:rPr lang="fr-CH" sz="1800" b="1" dirty="0" err="1"/>
              <a:t>bestanden</a:t>
            </a:r>
            <a:r>
              <a:rPr lang="fr-CH" b="1" dirty="0"/>
              <a:t>.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endParaRPr lang="fr-FR" dirty="0"/>
          </a:p>
          <a:p>
            <a:pPr algn="ctr">
              <a:buNone/>
            </a:pPr>
            <a:endParaRPr lang="fr-FR" dirty="0"/>
          </a:p>
          <a:p>
            <a:pPr algn="ctr">
              <a:buNone/>
            </a:pPr>
            <a:endParaRPr lang="fr-CH" dirty="0"/>
          </a:p>
          <a:p>
            <a:pPr algn="ctr"/>
            <a:endParaRPr lang="fr-FR" dirty="0"/>
          </a:p>
          <a:p>
            <a:pPr algn="ctr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909900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CH" dirty="0"/>
              <a:t>Dossier / </a:t>
            </a:r>
            <a:r>
              <a:rPr lang="fr-CH" dirty="0" err="1"/>
              <a:t>Programm</a:t>
            </a:r>
            <a:r>
              <a:rPr lang="fr-CH" dirty="0"/>
              <a:t> VPA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84634" y="1052736"/>
            <a:ext cx="8242300" cy="5370701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r>
              <a:rPr lang="fr-CH" b="1" dirty="0"/>
              <a:t>Das Dossier </a:t>
            </a:r>
            <a:r>
              <a:rPr lang="fr-CH" b="1" dirty="0" err="1"/>
              <a:t>dient</a:t>
            </a:r>
            <a:r>
              <a:rPr lang="fr-CH" b="1" dirty="0"/>
              <a:t> </a:t>
            </a:r>
            <a:r>
              <a:rPr lang="fr-CH" b="1" dirty="0" err="1"/>
              <a:t>dazu</a:t>
            </a:r>
            <a:r>
              <a:rPr lang="fr-CH" b="1" dirty="0"/>
              <a:t>, die </a:t>
            </a:r>
            <a:r>
              <a:rPr lang="fr-CH" b="1" dirty="0" err="1"/>
              <a:t>Expertn</a:t>
            </a:r>
            <a:r>
              <a:rPr lang="fr-CH" b="1" dirty="0"/>
              <a:t>*</a:t>
            </a:r>
            <a:r>
              <a:rPr lang="fr-CH" b="1" dirty="0" err="1"/>
              <a:t>innen</a:t>
            </a:r>
            <a:r>
              <a:rPr lang="fr-CH" b="1" dirty="0"/>
              <a:t> </a:t>
            </a:r>
            <a:r>
              <a:rPr lang="fr-CH" b="1" dirty="0" err="1"/>
              <a:t>über</a:t>
            </a:r>
            <a:r>
              <a:rPr lang="fr-CH" b="1" dirty="0"/>
              <a:t> den </a:t>
            </a:r>
            <a:r>
              <a:rPr lang="fr-CH" b="1" dirty="0" err="1"/>
              <a:t>Inhalt</a:t>
            </a:r>
            <a:r>
              <a:rPr lang="fr-CH" b="1" dirty="0"/>
              <a:t> der </a:t>
            </a:r>
            <a:r>
              <a:rPr lang="fr-CH" b="1" dirty="0" err="1"/>
              <a:t>Prüfung</a:t>
            </a:r>
            <a:r>
              <a:rPr lang="fr-CH" b="1" dirty="0"/>
              <a:t> </a:t>
            </a:r>
            <a:r>
              <a:rPr lang="fr-CH" b="1" dirty="0" err="1"/>
              <a:t>zu</a:t>
            </a:r>
            <a:r>
              <a:rPr lang="fr-CH" b="1" dirty="0"/>
              <a:t> </a:t>
            </a:r>
            <a:r>
              <a:rPr lang="fr-CH" b="1" dirty="0" err="1"/>
              <a:t>informieren</a:t>
            </a:r>
            <a:r>
              <a:rPr lang="fr-CH" b="1" dirty="0"/>
              <a:t>.</a:t>
            </a:r>
          </a:p>
          <a:p>
            <a:pPr marL="533400" indent="-533400">
              <a:lnSpc>
                <a:spcPct val="80000"/>
              </a:lnSpc>
              <a:buNone/>
            </a:pPr>
            <a:endParaRPr lang="fr-CH" sz="800" b="1" dirty="0"/>
          </a:p>
          <a:p>
            <a:pPr marL="533400" indent="-533400">
              <a:lnSpc>
                <a:spcPct val="80000"/>
              </a:lnSpc>
              <a:buNone/>
            </a:pPr>
            <a:r>
              <a:rPr lang="fr-CH" b="1" dirty="0"/>
              <a:t>Es </a:t>
            </a:r>
            <a:r>
              <a:rPr lang="fr-CH" b="1" dirty="0" err="1"/>
              <a:t>muss</a:t>
            </a:r>
            <a:r>
              <a:rPr lang="fr-CH" b="1" dirty="0"/>
              <a:t> </a:t>
            </a:r>
            <a:r>
              <a:rPr lang="fr-CH" b="1" dirty="0" err="1"/>
              <a:t>beinhalten</a:t>
            </a:r>
            <a:r>
              <a:rPr lang="fr-CH" b="1" dirty="0"/>
              <a:t> :</a:t>
            </a:r>
          </a:p>
          <a:p>
            <a:pPr marL="533400" indent="-5334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fr-CH" b="1" dirty="0"/>
              <a:t>Maximum 6 </a:t>
            </a:r>
            <a:r>
              <a:rPr lang="fr-CH" b="1" dirty="0" err="1"/>
              <a:t>Seiten</a:t>
            </a:r>
            <a:r>
              <a:rPr lang="fr-CH" b="1" dirty="0"/>
              <a:t> </a:t>
            </a:r>
            <a:r>
              <a:rPr lang="fr-CH" dirty="0" err="1"/>
              <a:t>Vorder</a:t>
            </a:r>
            <a:r>
              <a:rPr lang="fr-CH" dirty="0"/>
              <a:t>-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Rückseite</a:t>
            </a:r>
            <a:r>
              <a:rPr lang="fr-CH" dirty="0"/>
              <a:t> (mit </a:t>
            </a:r>
            <a:r>
              <a:rPr lang="fr-CH" dirty="0" err="1"/>
              <a:t>Titelblatt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Anhang</a:t>
            </a:r>
            <a:r>
              <a:rPr lang="fr-CH" dirty="0"/>
              <a:t>)</a:t>
            </a:r>
          </a:p>
          <a:p>
            <a:pPr marL="533400" indent="-5334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fr-CH" dirty="0"/>
              <a:t>VPA Dossier / </a:t>
            </a:r>
            <a:r>
              <a:rPr lang="fr-CH" dirty="0" err="1"/>
              <a:t>Programm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</a:t>
            </a:r>
            <a:r>
              <a:rPr lang="fr-CH" dirty="0" err="1"/>
              <a:t>auf</a:t>
            </a:r>
            <a:r>
              <a:rPr lang="fr-CH" dirty="0"/>
              <a:t> der </a:t>
            </a:r>
            <a:r>
              <a:rPr lang="fr-CH" dirty="0" err="1"/>
              <a:t>Homepage</a:t>
            </a:r>
            <a:r>
              <a:rPr lang="fr-CH" dirty="0"/>
              <a:t> </a:t>
            </a:r>
            <a:r>
              <a:rPr lang="fr-CH" dirty="0">
                <a:hlinkClick r:id="rId4"/>
              </a:rPr>
              <a:t>www.ortrafr.ch</a:t>
            </a:r>
            <a:r>
              <a:rPr lang="fr-CH" dirty="0"/>
              <a:t> </a:t>
            </a:r>
            <a:r>
              <a:rPr lang="fr-CH" dirty="0" err="1"/>
              <a:t>herunterzulad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auszufüllen</a:t>
            </a:r>
            <a:r>
              <a:rPr lang="fr-CH" dirty="0"/>
              <a:t> (</a:t>
            </a:r>
            <a:r>
              <a:rPr lang="fr-CH" dirty="0" err="1"/>
              <a:t>entsprechend</a:t>
            </a:r>
            <a:r>
              <a:rPr lang="fr-CH" dirty="0"/>
              <a:t> </a:t>
            </a:r>
            <a:r>
              <a:rPr lang="fr-CH" dirty="0" err="1"/>
              <a:t>Fachbereich</a:t>
            </a:r>
            <a:r>
              <a:rPr lang="fr-CH" dirty="0"/>
              <a:t> !!), von der/</a:t>
            </a:r>
            <a:r>
              <a:rPr lang="fr-CH" dirty="0" err="1"/>
              <a:t>dem</a:t>
            </a:r>
            <a:r>
              <a:rPr lang="fr-CH" dirty="0"/>
              <a:t> </a:t>
            </a:r>
            <a:r>
              <a:rPr lang="fr-CH" dirty="0" err="1"/>
              <a:t>Berufsbildner</a:t>
            </a:r>
            <a:r>
              <a:rPr lang="fr-CH" dirty="0"/>
              <a:t>-in </a:t>
            </a:r>
            <a:r>
              <a:rPr lang="fr-CH" dirty="0" err="1"/>
              <a:t>oder</a:t>
            </a:r>
            <a:r>
              <a:rPr lang="fr-CH" dirty="0"/>
              <a:t>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Arbeitgeber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von der/</a:t>
            </a:r>
            <a:r>
              <a:rPr lang="fr-CH" dirty="0" err="1"/>
              <a:t>dem</a:t>
            </a:r>
            <a:r>
              <a:rPr lang="fr-CH" dirty="0"/>
              <a:t> </a:t>
            </a:r>
            <a:r>
              <a:rPr lang="fr-CH" dirty="0" err="1"/>
              <a:t>Kandidat</a:t>
            </a:r>
            <a:r>
              <a:rPr lang="fr-CH" dirty="0"/>
              <a:t>-in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unterschreiben</a:t>
            </a:r>
            <a:r>
              <a:rPr lang="fr-CH" dirty="0"/>
              <a:t>. </a:t>
            </a:r>
          </a:p>
          <a:p>
            <a:pPr marL="533400" indent="-53340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fr-CH" dirty="0" err="1"/>
              <a:t>Ankreuzen</a:t>
            </a:r>
            <a:r>
              <a:rPr lang="fr-CH" dirty="0"/>
              <a:t>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zur</a:t>
            </a:r>
            <a:r>
              <a:rPr lang="fr-CH" dirty="0"/>
              <a:t> </a:t>
            </a:r>
            <a:r>
              <a:rPr lang="fr-CH" dirty="0" err="1"/>
              <a:t>Auswahl</a:t>
            </a:r>
            <a:r>
              <a:rPr lang="fr-CH" dirty="0"/>
              <a:t> </a:t>
            </a:r>
            <a:r>
              <a:rPr lang="fr-CH" dirty="0" err="1"/>
              <a:t>stehenden</a:t>
            </a:r>
            <a:r>
              <a:rPr lang="fr-CH" dirty="0"/>
              <a:t> </a:t>
            </a:r>
            <a:r>
              <a:rPr lang="fr-CH" dirty="0" err="1"/>
              <a:t>Leistungsziel</a:t>
            </a:r>
            <a:r>
              <a:rPr lang="fr-CH" dirty="0"/>
              <a:t> pro </a:t>
            </a:r>
            <a:r>
              <a:rPr lang="fr-CH" dirty="0" err="1"/>
              <a:t>Praxisaufgabe</a:t>
            </a:r>
            <a:r>
              <a:rPr lang="fr-CH" dirty="0"/>
              <a:t> 2 - 4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endParaRPr lang="fr-FR" sz="1400" dirty="0"/>
          </a:p>
          <a:p>
            <a:pPr marL="533400" indent="-533400">
              <a:lnSpc>
                <a:spcPct val="80000"/>
              </a:lnSpc>
              <a:buFont typeface="Arial" pitchFamily="34" charset="0"/>
              <a:buChar char="•"/>
            </a:pPr>
            <a:r>
              <a:rPr lang="fr-CH" b="1" dirty="0"/>
              <a:t>Im </a:t>
            </a:r>
            <a:r>
              <a:rPr lang="fr-CH" b="1" dirty="0" err="1"/>
              <a:t>Anhang</a:t>
            </a:r>
            <a:r>
              <a:rPr lang="fr-CH" b="1" dirty="0"/>
              <a:t> : </a:t>
            </a:r>
            <a:r>
              <a:rPr lang="fr-CH" dirty="0" err="1"/>
              <a:t>einen</a:t>
            </a:r>
            <a:r>
              <a:rPr lang="fr-CH" dirty="0"/>
              <a:t> </a:t>
            </a:r>
            <a:r>
              <a:rPr lang="fr-CH" dirty="0" err="1"/>
              <a:t>genauen</a:t>
            </a:r>
            <a:r>
              <a:rPr lang="fr-CH" dirty="0"/>
              <a:t> </a:t>
            </a:r>
            <a:r>
              <a:rPr lang="fr-CH" dirty="0" err="1"/>
              <a:t>Anfahrtsplan</a:t>
            </a:r>
            <a:r>
              <a:rPr lang="fr-CH" dirty="0"/>
              <a:t> </a:t>
            </a:r>
            <a:r>
              <a:rPr lang="fr-CH" dirty="0" err="1"/>
              <a:t>zum</a:t>
            </a:r>
            <a:r>
              <a:rPr lang="fr-CH" dirty="0"/>
              <a:t> </a:t>
            </a:r>
            <a:r>
              <a:rPr lang="fr-CH" dirty="0" err="1"/>
              <a:t>Prüfungsort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Informationen</a:t>
            </a:r>
            <a:r>
              <a:rPr lang="fr-CH" dirty="0"/>
              <a:t> </a:t>
            </a:r>
            <a:r>
              <a:rPr lang="fr-CH" dirty="0" err="1"/>
              <a:t>über</a:t>
            </a:r>
            <a:r>
              <a:rPr lang="fr-CH" dirty="0"/>
              <a:t> </a:t>
            </a:r>
            <a:r>
              <a:rPr lang="fr-CH" dirty="0" err="1"/>
              <a:t>Parkmöglichkeiten</a:t>
            </a:r>
            <a:r>
              <a:rPr lang="fr-CH" dirty="0"/>
              <a:t> (mit </a:t>
            </a:r>
            <a:r>
              <a:rPr lang="fr-CH" dirty="0" err="1"/>
              <a:t>evt</a:t>
            </a:r>
            <a:r>
              <a:rPr lang="fr-CH" dirty="0"/>
              <a:t>. </a:t>
            </a:r>
            <a:r>
              <a:rPr lang="fr-CH" dirty="0" err="1"/>
              <a:t>internen</a:t>
            </a:r>
            <a:r>
              <a:rPr lang="fr-CH" dirty="0"/>
              <a:t> </a:t>
            </a:r>
            <a:r>
              <a:rPr lang="fr-CH" dirty="0" err="1"/>
              <a:t>Parkan-weisungen</a:t>
            </a:r>
            <a:r>
              <a:rPr lang="fr-CH" dirty="0"/>
              <a:t>).</a:t>
            </a:r>
            <a:endParaRPr lang="fr-CH" sz="1800" dirty="0"/>
          </a:p>
          <a:p>
            <a:pPr marL="533400" indent="-533400">
              <a:lnSpc>
                <a:spcPct val="80000"/>
              </a:lnSpc>
              <a:buNone/>
            </a:pPr>
            <a:endParaRPr lang="fr-FR" sz="1800" b="1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25007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CH" dirty="0" err="1"/>
              <a:t>Vorbereitungsdossier</a:t>
            </a:r>
            <a:r>
              <a:rPr lang="fr-CH" dirty="0"/>
              <a:t> VPA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4832092"/>
          </a:xfrm>
        </p:spPr>
        <p:txBody>
          <a:bodyPr/>
          <a:lstStyle/>
          <a:p>
            <a:pPr>
              <a:buFontTx/>
              <a:buChar char="•"/>
            </a:pPr>
            <a:r>
              <a:rPr lang="fr-FR" dirty="0" err="1"/>
              <a:t>Das</a:t>
            </a:r>
            <a:r>
              <a:rPr lang="fr-FR" dirty="0"/>
              <a:t> Dossier </a:t>
            </a:r>
            <a:r>
              <a:rPr lang="fr-FR" dirty="0" err="1"/>
              <a:t>muss</a:t>
            </a:r>
            <a:r>
              <a:rPr lang="fr-FR" dirty="0"/>
              <a:t> in </a:t>
            </a:r>
            <a:r>
              <a:rPr lang="fr-FR" b="1" dirty="0"/>
              <a:t>3-facher </a:t>
            </a:r>
            <a:r>
              <a:rPr lang="fr-FR" b="1" dirty="0" err="1"/>
              <a:t>Ausführung</a:t>
            </a:r>
            <a:r>
              <a:rPr lang="fr-FR" b="1" dirty="0"/>
              <a:t> </a:t>
            </a:r>
            <a:r>
              <a:rPr lang="fr-FR" dirty="0"/>
              <a:t>(</a:t>
            </a:r>
            <a:r>
              <a:rPr lang="fr-FR" dirty="0" err="1"/>
              <a:t>jedes</a:t>
            </a:r>
            <a:r>
              <a:rPr lang="fr-FR" dirty="0"/>
              <a:t> </a:t>
            </a:r>
            <a:r>
              <a:rPr lang="fr-FR" dirty="0" err="1"/>
              <a:t>einzeln</a:t>
            </a:r>
            <a:r>
              <a:rPr lang="fr-FR" dirty="0"/>
              <a:t> und </a:t>
            </a:r>
            <a:r>
              <a:rPr lang="fr-FR" dirty="0" err="1"/>
              <a:t>separat</a:t>
            </a:r>
            <a:r>
              <a:rPr lang="fr-FR" dirty="0"/>
              <a:t> </a:t>
            </a:r>
            <a:r>
              <a:rPr lang="fr-FR" dirty="0" err="1"/>
              <a:t>geheftet</a:t>
            </a:r>
            <a:r>
              <a:rPr lang="fr-FR" dirty="0"/>
              <a:t>), und die 3 Dossiers mit </a:t>
            </a:r>
            <a:r>
              <a:rPr lang="fr-FR" dirty="0" err="1"/>
              <a:t>Büroklammer</a:t>
            </a:r>
            <a:r>
              <a:rPr lang="fr-FR" dirty="0"/>
              <a:t> </a:t>
            </a:r>
            <a:r>
              <a:rPr lang="fr-FR" dirty="0" err="1"/>
              <a:t>befestigt</a:t>
            </a:r>
            <a:r>
              <a:rPr lang="fr-FR" dirty="0"/>
              <a:t>, an die </a:t>
            </a:r>
            <a:r>
              <a:rPr lang="fr-FR" dirty="0" err="1"/>
              <a:t>Chefexpertin</a:t>
            </a:r>
            <a:r>
              <a:rPr lang="fr-FR" dirty="0"/>
              <a:t> </a:t>
            </a:r>
            <a:r>
              <a:rPr lang="fr-FR" dirty="0" err="1"/>
              <a:t>geschickt</a:t>
            </a:r>
            <a:r>
              <a:rPr lang="fr-FR" dirty="0"/>
              <a:t> </a:t>
            </a:r>
            <a:r>
              <a:rPr lang="fr-FR" dirty="0" err="1"/>
              <a:t>werden</a:t>
            </a:r>
            <a:r>
              <a:rPr lang="fr-FR" dirty="0"/>
              <a:t> bis </a:t>
            </a:r>
            <a:r>
              <a:rPr lang="fr-FR" dirty="0" err="1"/>
              <a:t>spätestens</a:t>
            </a:r>
            <a:r>
              <a:rPr lang="fr-FR" dirty="0"/>
              <a:t> </a:t>
            </a:r>
            <a:r>
              <a:rPr lang="fr-FR" dirty="0" err="1"/>
              <a:t>am</a:t>
            </a:r>
            <a:endParaRPr lang="fr-FR" dirty="0"/>
          </a:p>
          <a:p>
            <a:pPr>
              <a:buNone/>
            </a:pPr>
            <a:endParaRPr lang="fr-FR" sz="800" dirty="0">
              <a:solidFill>
                <a:srgbClr val="FF0000"/>
              </a:solidFill>
            </a:endParaRPr>
          </a:p>
          <a:p>
            <a:pPr algn="ctr">
              <a:buFontTx/>
              <a:buChar char="•"/>
            </a:pPr>
            <a:r>
              <a:rPr lang="fr-FR" b="1" dirty="0" err="1">
                <a:solidFill>
                  <a:srgbClr val="FF0000"/>
                </a:solidFill>
              </a:rPr>
              <a:t>Dienstag</a:t>
            </a:r>
            <a:r>
              <a:rPr lang="fr-FR" b="1" dirty="0">
                <a:solidFill>
                  <a:srgbClr val="FF0000"/>
                </a:solidFill>
              </a:rPr>
              <a:t>, 01. April 2025 </a:t>
            </a:r>
          </a:p>
          <a:p>
            <a:pPr algn="ctr">
              <a:buNone/>
            </a:pPr>
            <a:endParaRPr lang="fr-FR" sz="800" b="1" dirty="0"/>
          </a:p>
          <a:p>
            <a:pPr>
              <a:buFontTx/>
              <a:buChar char="•"/>
            </a:pPr>
            <a:r>
              <a:rPr lang="fr-FR" dirty="0" err="1"/>
              <a:t>Das</a:t>
            </a:r>
            <a:r>
              <a:rPr lang="fr-FR" dirty="0"/>
              <a:t> </a:t>
            </a:r>
            <a:r>
              <a:rPr lang="fr-FR" dirty="0" err="1"/>
              <a:t>Vorbereitungsdossier</a:t>
            </a:r>
            <a:r>
              <a:rPr lang="fr-FR" dirty="0"/>
              <a:t> </a:t>
            </a:r>
            <a:r>
              <a:rPr lang="fr-FR" dirty="0" err="1"/>
              <a:t>muss</a:t>
            </a:r>
            <a:r>
              <a:rPr lang="fr-FR" dirty="0"/>
              <a:t> </a:t>
            </a:r>
            <a:r>
              <a:rPr lang="fr-FR" dirty="0" err="1"/>
              <a:t>vom</a:t>
            </a:r>
            <a:r>
              <a:rPr lang="fr-FR" dirty="0"/>
              <a:t> </a:t>
            </a:r>
            <a:r>
              <a:rPr lang="fr-FR" dirty="0" err="1"/>
              <a:t>Berufsbildner</a:t>
            </a:r>
            <a:r>
              <a:rPr lang="fr-FR" dirty="0"/>
              <a:t> / in </a:t>
            </a:r>
            <a:r>
              <a:rPr lang="fr-FR" dirty="0" err="1"/>
              <a:t>oder</a:t>
            </a:r>
            <a:r>
              <a:rPr lang="fr-FR" dirty="0"/>
              <a:t> </a:t>
            </a:r>
            <a:r>
              <a:rPr lang="fr-FR" dirty="0" err="1"/>
              <a:t>Institutionsverantwortliche</a:t>
            </a:r>
            <a:r>
              <a:rPr lang="fr-FR" dirty="0"/>
              <a:t>/n </a:t>
            </a:r>
            <a:r>
              <a:rPr lang="fr-FR" b="1" dirty="0" err="1"/>
              <a:t>unterschrieben</a:t>
            </a:r>
            <a:r>
              <a:rPr lang="fr-FR" dirty="0"/>
              <a:t> </a:t>
            </a:r>
            <a:r>
              <a:rPr lang="fr-FR" dirty="0" err="1"/>
              <a:t>werden</a:t>
            </a:r>
            <a:r>
              <a:rPr lang="fr-FR" dirty="0"/>
              <a:t>, welche / r </a:t>
            </a:r>
            <a:r>
              <a:rPr lang="fr-FR" dirty="0" err="1"/>
              <a:t>somit</a:t>
            </a:r>
            <a:r>
              <a:rPr lang="fr-FR" dirty="0"/>
              <a:t> die </a:t>
            </a:r>
            <a:r>
              <a:rPr lang="fr-FR" dirty="0" err="1"/>
              <a:t>Übereinstimmung</a:t>
            </a:r>
            <a:r>
              <a:rPr lang="fr-FR" dirty="0"/>
              <a:t> mit der Praxis </a:t>
            </a:r>
            <a:r>
              <a:rPr lang="fr-FR" dirty="0" err="1"/>
              <a:t>bestätigt</a:t>
            </a:r>
            <a:r>
              <a:rPr lang="fr-FR" dirty="0"/>
              <a:t>.</a:t>
            </a:r>
            <a:endParaRPr lang="fr-FR" altLang="ja-JP" dirty="0">
              <a:ea typeface="MS PGothic" pitchFamily="34" charset="-128"/>
            </a:endParaRPr>
          </a:p>
          <a:p>
            <a:pPr>
              <a:buFontTx/>
              <a:buChar char="•"/>
            </a:pPr>
            <a:r>
              <a:rPr lang="fr-CH" altLang="ja-JP" dirty="0" err="1">
                <a:ea typeface="MS PGothic" pitchFamily="34" charset="-128"/>
              </a:rPr>
              <a:t>Auf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dem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Titelblatt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muss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das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Datum</a:t>
            </a:r>
            <a:r>
              <a:rPr lang="fr-CH" altLang="ja-JP" dirty="0">
                <a:ea typeface="MS PGothic" pitchFamily="34" charset="-128"/>
              </a:rPr>
              <a:t> und die Zeit </a:t>
            </a:r>
            <a:r>
              <a:rPr lang="fr-CH" altLang="ja-JP" dirty="0" err="1">
                <a:ea typeface="MS PGothic" pitchFamily="34" charset="-128"/>
              </a:rPr>
              <a:t>vom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Beginn</a:t>
            </a:r>
            <a:r>
              <a:rPr lang="fr-CH" altLang="ja-JP" dirty="0">
                <a:ea typeface="MS PGothic" pitchFamily="34" charset="-128"/>
              </a:rPr>
              <a:t> der </a:t>
            </a:r>
            <a:r>
              <a:rPr lang="fr-CH" altLang="ja-JP" dirty="0" err="1">
                <a:ea typeface="MS PGothic" pitchFamily="34" charset="-128"/>
              </a:rPr>
              <a:t>praktischen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Prüfung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vermerkt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werden</a:t>
            </a:r>
            <a:r>
              <a:rPr lang="fr-CH" altLang="ja-JP" dirty="0">
                <a:ea typeface="MS PGothic" pitchFamily="34" charset="-128"/>
              </a:rPr>
              <a:t>. </a:t>
            </a:r>
          </a:p>
          <a:p>
            <a:pPr>
              <a:buFontTx/>
              <a:buChar char="•"/>
            </a:pPr>
            <a:r>
              <a:rPr lang="fr-CH" altLang="ja-JP" dirty="0">
                <a:ea typeface="MS PGothic" pitchFamily="34" charset="-128"/>
              </a:rPr>
              <a:t>Bitte </a:t>
            </a:r>
            <a:r>
              <a:rPr lang="fr-CH" altLang="ja-JP" dirty="0" err="1">
                <a:ea typeface="MS PGothic" pitchFamily="34" charset="-128"/>
              </a:rPr>
              <a:t>überprüfen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Sie</a:t>
            </a:r>
            <a:r>
              <a:rPr lang="fr-CH" altLang="ja-JP" dirty="0">
                <a:ea typeface="MS PGothic" pitchFamily="34" charset="-128"/>
              </a:rPr>
              <a:t>, </a:t>
            </a:r>
            <a:r>
              <a:rPr lang="fr-CH" altLang="ja-JP" dirty="0" err="1">
                <a:ea typeface="MS PGothic" pitchFamily="34" charset="-128"/>
              </a:rPr>
              <a:t>dass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alle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Angaben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auf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dem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Titelblatt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korrekt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und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vollständig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ausgefüllt</a:t>
            </a:r>
            <a:r>
              <a:rPr lang="fr-CH" altLang="ja-JP" dirty="0">
                <a:ea typeface="MS PGothic" pitchFamily="34" charset="-128"/>
              </a:rPr>
              <a:t> </a:t>
            </a:r>
            <a:r>
              <a:rPr lang="fr-CH" altLang="ja-JP" dirty="0" err="1">
                <a:ea typeface="MS PGothic" pitchFamily="34" charset="-128"/>
              </a:rPr>
              <a:t>sind</a:t>
            </a:r>
            <a:r>
              <a:rPr lang="fr-CH" altLang="ja-JP" dirty="0">
                <a:ea typeface="MS PGothic" pitchFamily="34" charset="-128"/>
              </a:rPr>
              <a:t> !!</a:t>
            </a:r>
            <a:endParaRPr lang="fr-FR" altLang="ja-JP" dirty="0">
              <a:ea typeface="MS PGothic" pitchFamily="34" charset="-128"/>
            </a:endParaRP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530737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FR" dirty="0"/>
              <a:t> </a:t>
            </a:r>
            <a:br>
              <a:rPr lang="fr-CH" dirty="0"/>
            </a:b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683568" y="304800"/>
            <a:ext cx="8015932" cy="5616922"/>
          </a:xfrm>
        </p:spPr>
        <p:txBody>
          <a:bodyPr/>
          <a:lstStyle/>
          <a:p>
            <a:pPr algn="ctr">
              <a:spcAft>
                <a:spcPts val="0"/>
              </a:spcAft>
              <a:buNone/>
            </a:pPr>
            <a:r>
              <a:rPr lang="fr-FR" sz="2400" b="1" dirty="0" err="1"/>
              <a:t>Verfügbarkeit</a:t>
            </a:r>
            <a:r>
              <a:rPr lang="fr-FR" sz="2400" b="1" dirty="0"/>
              <a:t> </a:t>
            </a:r>
            <a:r>
              <a:rPr lang="fr-FR" sz="2400" b="1" dirty="0" err="1"/>
              <a:t>für</a:t>
            </a:r>
            <a:r>
              <a:rPr lang="fr-FR" sz="2400" b="1" dirty="0"/>
              <a:t> die </a:t>
            </a:r>
            <a:r>
              <a:rPr lang="fr-FR" sz="2400" b="1" dirty="0" err="1"/>
              <a:t>praktische</a:t>
            </a:r>
            <a:r>
              <a:rPr lang="fr-FR" sz="2400" b="1" dirty="0"/>
              <a:t> </a:t>
            </a:r>
            <a:r>
              <a:rPr lang="fr-FR" sz="2400" b="1" dirty="0" err="1"/>
              <a:t>Prüfung</a:t>
            </a:r>
            <a:r>
              <a:rPr lang="fr-FR" sz="2400" b="1" dirty="0"/>
              <a:t> VPA</a:t>
            </a:r>
          </a:p>
          <a:p>
            <a:pPr algn="ctr">
              <a:spcAft>
                <a:spcPts val="0"/>
              </a:spcAft>
              <a:buNone/>
            </a:pPr>
            <a:endParaRPr lang="fr-FR" sz="1200" dirty="0"/>
          </a:p>
          <a:p>
            <a:pPr>
              <a:spcAft>
                <a:spcPts val="0"/>
              </a:spcAft>
              <a:buNone/>
            </a:pPr>
            <a:r>
              <a:rPr lang="fr-FR" b="1" dirty="0"/>
              <a:t>     </a:t>
            </a:r>
            <a:r>
              <a:rPr lang="fr-FR" b="1" dirty="0" err="1"/>
              <a:t>Ein</a:t>
            </a:r>
            <a:r>
              <a:rPr lang="fr-FR" b="1" dirty="0"/>
              <a:t> </a:t>
            </a:r>
            <a:r>
              <a:rPr lang="fr-FR" b="1" dirty="0" err="1"/>
              <a:t>Fragebogen</a:t>
            </a:r>
            <a:r>
              <a:rPr lang="fr-FR" b="1" dirty="0"/>
              <a:t> « Forms » </a:t>
            </a:r>
            <a:r>
              <a:rPr lang="fr-FR" b="1" dirty="0" err="1"/>
              <a:t>ist</a:t>
            </a:r>
            <a:r>
              <a:rPr lang="fr-FR" b="1" dirty="0"/>
              <a:t> ab </a:t>
            </a:r>
            <a:r>
              <a:rPr lang="fr-FR" b="1" dirty="0" err="1"/>
              <a:t>Mitte</a:t>
            </a:r>
            <a:r>
              <a:rPr lang="fr-FR" b="1" dirty="0"/>
              <a:t> - </a:t>
            </a:r>
            <a:r>
              <a:rPr lang="fr-FR" b="1" dirty="0" err="1"/>
              <a:t>Dezember</a:t>
            </a:r>
            <a:r>
              <a:rPr lang="fr-FR" b="1" dirty="0"/>
              <a:t> </a:t>
            </a:r>
            <a:r>
              <a:rPr lang="fr-FR" b="1" dirty="0" err="1"/>
              <a:t>aufgeschaltet</a:t>
            </a:r>
            <a:r>
              <a:rPr lang="fr-FR" b="1" dirty="0"/>
              <a:t> </a:t>
            </a:r>
            <a:r>
              <a:rPr lang="fr-FR" b="1" dirty="0" err="1"/>
              <a:t>und</a:t>
            </a:r>
            <a:r>
              <a:rPr lang="fr-FR" b="1" dirty="0"/>
              <a:t> </a:t>
            </a:r>
            <a:r>
              <a:rPr lang="fr-FR" b="1" dirty="0" err="1"/>
              <a:t>muss</a:t>
            </a:r>
            <a:r>
              <a:rPr lang="fr-FR" b="1" dirty="0"/>
              <a:t> bis </a:t>
            </a:r>
            <a:r>
              <a:rPr lang="fr-FR" b="1" dirty="0" err="1"/>
              <a:t>spätestens</a:t>
            </a:r>
            <a:r>
              <a:rPr lang="fr-FR" b="1" dirty="0"/>
              <a:t> </a:t>
            </a:r>
            <a:r>
              <a:rPr lang="fr-FR" b="1" dirty="0" err="1"/>
              <a:t>am</a:t>
            </a:r>
            <a:r>
              <a:rPr lang="fr-FR" b="1" dirty="0"/>
              <a:t> </a:t>
            </a:r>
            <a:r>
              <a:rPr lang="fr-FR" b="1" dirty="0">
                <a:highlight>
                  <a:srgbClr val="FFFF00"/>
                </a:highlight>
              </a:rPr>
              <a:t>10. </a:t>
            </a:r>
            <a:r>
              <a:rPr lang="fr-FR" b="1" dirty="0" err="1">
                <a:highlight>
                  <a:srgbClr val="FFFF00"/>
                </a:highlight>
              </a:rPr>
              <a:t>Januar</a:t>
            </a:r>
            <a:r>
              <a:rPr lang="fr-FR" b="1" dirty="0">
                <a:highlight>
                  <a:srgbClr val="FFFF00"/>
                </a:highlight>
              </a:rPr>
              <a:t> 2025 online </a:t>
            </a:r>
            <a:r>
              <a:rPr lang="fr-FR" b="1" dirty="0" err="1"/>
              <a:t>auf</a:t>
            </a:r>
            <a:r>
              <a:rPr lang="fr-FR" b="1" dirty="0"/>
              <a:t> </a:t>
            </a:r>
            <a:r>
              <a:rPr lang="fr-FR" b="1" dirty="0">
                <a:highlight>
                  <a:srgbClr val="FFFF00"/>
                </a:highlight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ortrafr.ch</a:t>
            </a:r>
            <a:r>
              <a:rPr lang="fr-FR" b="1" dirty="0">
                <a:highlight>
                  <a:srgbClr val="FFFF00"/>
                </a:highlight>
              </a:rPr>
              <a:t> </a:t>
            </a:r>
            <a:r>
              <a:rPr lang="fr-FR" b="1" dirty="0" err="1"/>
              <a:t>ausgefüllt</a:t>
            </a:r>
            <a:r>
              <a:rPr lang="fr-FR" b="1" dirty="0"/>
              <a:t> </a:t>
            </a:r>
            <a:r>
              <a:rPr lang="fr-FR" b="1" dirty="0" err="1"/>
              <a:t>werden</a:t>
            </a:r>
            <a:r>
              <a:rPr lang="fr-FR" b="1" dirty="0"/>
              <a:t> !</a:t>
            </a:r>
          </a:p>
          <a:p>
            <a:pPr>
              <a:spcAft>
                <a:spcPts val="0"/>
              </a:spcAft>
              <a:buNone/>
            </a:pPr>
            <a:endParaRPr lang="fr-FR" sz="2400" b="1" dirty="0"/>
          </a:p>
          <a:p>
            <a:pPr>
              <a:spcAft>
                <a:spcPts val="0"/>
              </a:spcAft>
              <a:buNone/>
            </a:pPr>
            <a:r>
              <a:rPr lang="fr-FR" b="1" u="sng" dirty="0" err="1"/>
              <a:t>Notieren</a:t>
            </a:r>
            <a:r>
              <a:rPr lang="fr-FR" b="1" u="sng" dirty="0"/>
              <a:t> </a:t>
            </a:r>
            <a:r>
              <a:rPr lang="fr-FR" b="1" u="sng" dirty="0" err="1"/>
              <a:t>Sie</a:t>
            </a:r>
            <a:r>
              <a:rPr lang="fr-FR" b="1" u="sng" dirty="0"/>
              <a:t> bitte </a:t>
            </a:r>
            <a:r>
              <a:rPr lang="fr-FR" b="1" dirty="0"/>
              <a:t>: </a:t>
            </a:r>
          </a:p>
          <a:p>
            <a:pPr>
              <a:spcAft>
                <a:spcPts val="0"/>
              </a:spcAft>
              <a:buNone/>
            </a:pPr>
            <a:endParaRPr lang="fr-FR" b="1" dirty="0"/>
          </a:p>
          <a:p>
            <a:pPr>
              <a:buFont typeface="Arial" pitchFamily="34" charset="0"/>
              <a:buChar char="•"/>
            </a:pPr>
            <a:r>
              <a:rPr lang="fr-FR" b="1" dirty="0"/>
              <a:t>Die Tage, welche </a:t>
            </a:r>
            <a:r>
              <a:rPr lang="fr-FR" b="1" dirty="0" err="1"/>
              <a:t>für</a:t>
            </a:r>
            <a:r>
              <a:rPr lang="fr-FR" b="1" dirty="0"/>
              <a:t> die </a:t>
            </a:r>
            <a:r>
              <a:rPr lang="fr-FR" b="1" dirty="0" err="1"/>
              <a:t>praktische</a:t>
            </a:r>
            <a:r>
              <a:rPr lang="fr-FR" b="1" dirty="0"/>
              <a:t> </a:t>
            </a:r>
            <a:r>
              <a:rPr lang="fr-FR" b="1" dirty="0" err="1"/>
              <a:t>Prüfung</a:t>
            </a:r>
            <a:r>
              <a:rPr lang="fr-FR" b="1" dirty="0"/>
              <a:t> </a:t>
            </a:r>
            <a:r>
              <a:rPr lang="fr-FR" b="1" dirty="0" err="1">
                <a:solidFill>
                  <a:srgbClr val="FF0000"/>
                </a:solidFill>
              </a:rPr>
              <a:t>ungünstig</a:t>
            </a:r>
            <a:r>
              <a:rPr lang="fr-FR" b="1" dirty="0"/>
              <a:t> </a:t>
            </a:r>
            <a:r>
              <a:rPr lang="fr-FR" b="1" dirty="0" err="1"/>
              <a:t>sind</a:t>
            </a:r>
            <a:r>
              <a:rPr lang="fr-FR" b="1" dirty="0"/>
              <a:t> (maximum 4 </a:t>
            </a:r>
            <a:r>
              <a:rPr lang="fr-FR" b="1" dirty="0" err="1"/>
              <a:t>Daten</a:t>
            </a:r>
            <a:r>
              <a:rPr lang="fr-FR" b="1" dirty="0"/>
              <a:t>, </a:t>
            </a:r>
            <a:r>
              <a:rPr lang="fr-FR" b="1" dirty="0" err="1"/>
              <a:t>Schul</a:t>
            </a:r>
            <a:r>
              <a:rPr lang="fr-FR" b="1" dirty="0"/>
              <a:t>- </a:t>
            </a:r>
            <a:r>
              <a:rPr lang="fr-FR" b="1" dirty="0" err="1"/>
              <a:t>und</a:t>
            </a:r>
            <a:r>
              <a:rPr lang="fr-FR" b="1" dirty="0"/>
              <a:t> </a:t>
            </a:r>
            <a:r>
              <a:rPr lang="fr-FR" b="1" dirty="0" err="1"/>
              <a:t>Feiertage</a:t>
            </a:r>
            <a:r>
              <a:rPr lang="fr-FR" b="1" dirty="0"/>
              <a:t> </a:t>
            </a:r>
            <a:r>
              <a:rPr lang="fr-FR" b="1" dirty="0" err="1"/>
              <a:t>bereits</a:t>
            </a:r>
            <a:r>
              <a:rPr lang="fr-FR" b="1" dirty="0"/>
              <a:t> </a:t>
            </a:r>
            <a:r>
              <a:rPr lang="fr-FR" b="1" dirty="0" err="1"/>
              <a:t>abgezogen</a:t>
            </a:r>
            <a:r>
              <a:rPr lang="fr-FR" b="1" dirty="0"/>
              <a:t>).</a:t>
            </a:r>
          </a:p>
          <a:p>
            <a:pPr>
              <a:buFont typeface="Arial" pitchFamily="34" charset="0"/>
              <a:buChar char="•"/>
            </a:pPr>
            <a:r>
              <a:rPr lang="fr-FR" b="1" dirty="0">
                <a:solidFill>
                  <a:srgbClr val="FF0000"/>
                </a:solidFill>
              </a:rPr>
              <a:t>Die </a:t>
            </a:r>
            <a:r>
              <a:rPr lang="fr-FR" b="1" dirty="0" err="1">
                <a:solidFill>
                  <a:srgbClr val="FF0000"/>
                </a:solidFill>
              </a:rPr>
              <a:t>Zeit</a:t>
            </a:r>
            <a:r>
              <a:rPr lang="fr-FR" b="1" dirty="0">
                <a:solidFill>
                  <a:srgbClr val="FF0000"/>
                </a:solidFill>
              </a:rPr>
              <a:t> </a:t>
            </a:r>
            <a:r>
              <a:rPr lang="fr-FR" b="1" dirty="0" err="1">
                <a:solidFill>
                  <a:srgbClr val="FF0000"/>
                </a:solidFill>
              </a:rPr>
              <a:t>vom</a:t>
            </a:r>
            <a:r>
              <a:rPr lang="fr-FR" b="1" dirty="0">
                <a:solidFill>
                  <a:srgbClr val="FF0000"/>
                </a:solidFill>
              </a:rPr>
              <a:t> </a:t>
            </a:r>
            <a:r>
              <a:rPr lang="fr-FR" b="1" dirty="0" err="1">
                <a:solidFill>
                  <a:srgbClr val="FF0000"/>
                </a:solidFill>
              </a:rPr>
              <a:t>Prüfungsbeginn</a:t>
            </a:r>
            <a:r>
              <a:rPr lang="fr-FR" b="1" dirty="0">
                <a:solidFill>
                  <a:srgbClr val="FF0000"/>
                </a:solidFill>
              </a:rPr>
              <a:t>.</a:t>
            </a:r>
          </a:p>
          <a:p>
            <a:pPr>
              <a:buFont typeface="Arial" pitchFamily="34" charset="0"/>
              <a:buChar char="•"/>
            </a:pPr>
            <a:r>
              <a:rPr lang="fr-FR" b="1" dirty="0"/>
              <a:t>Bei </a:t>
            </a:r>
            <a:r>
              <a:rPr lang="fr-FR" b="1" dirty="0" err="1"/>
              <a:t>Fragen</a:t>
            </a:r>
            <a:r>
              <a:rPr lang="fr-FR" b="1" dirty="0"/>
              <a:t>, </a:t>
            </a:r>
            <a:r>
              <a:rPr lang="fr-FR" b="1" dirty="0" err="1"/>
              <a:t>kontaktieren</a:t>
            </a:r>
            <a:r>
              <a:rPr lang="fr-FR" b="1" dirty="0"/>
              <a:t> </a:t>
            </a:r>
            <a:r>
              <a:rPr lang="fr-FR" b="1" dirty="0" err="1"/>
              <a:t>Sie</a:t>
            </a:r>
            <a:r>
              <a:rPr lang="fr-FR" b="1" dirty="0"/>
              <a:t> bitte :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FR" dirty="0"/>
              <a:t>			</a:t>
            </a:r>
            <a:r>
              <a:rPr lang="fr-FR" dirty="0" err="1"/>
              <a:t>OrTra</a:t>
            </a:r>
            <a:r>
              <a:rPr lang="fr-FR" dirty="0"/>
              <a:t> </a:t>
            </a:r>
            <a:r>
              <a:rPr lang="fr-FR" dirty="0" err="1"/>
              <a:t>Gesundheit</a:t>
            </a:r>
            <a:r>
              <a:rPr lang="fr-FR" dirty="0"/>
              <a:t> und </a:t>
            </a:r>
            <a:r>
              <a:rPr lang="fr-FR" dirty="0" err="1"/>
              <a:t>Soziales</a:t>
            </a:r>
            <a:r>
              <a:rPr lang="fr-FR" dirty="0"/>
              <a:t> Freiburg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FR" dirty="0"/>
              <a:t>			</a:t>
            </a:r>
            <a:r>
              <a:rPr lang="fr-FR" dirty="0" err="1"/>
              <a:t>Frau</a:t>
            </a:r>
            <a:r>
              <a:rPr lang="fr-FR" dirty="0"/>
              <a:t> Susan Bielmann, </a:t>
            </a:r>
            <a:r>
              <a:rPr lang="fr-FR" dirty="0" err="1"/>
              <a:t>Chefexpertin</a:t>
            </a:r>
            <a:r>
              <a:rPr lang="fr-FR" dirty="0"/>
              <a:t>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FR" dirty="0"/>
              <a:t>			Mail : </a:t>
            </a:r>
            <a:r>
              <a:rPr lang="fr-FR" dirty="0">
                <a:hlinkClick r:id="rId5"/>
              </a:rPr>
              <a:t>s.bielmann@ortrafr.ch</a:t>
            </a:r>
            <a:endParaRPr lang="fr-FR" dirty="0"/>
          </a:p>
          <a:p>
            <a:pPr marL="0" indent="0">
              <a:spcAft>
                <a:spcPts val="600"/>
              </a:spcAft>
              <a:buNone/>
            </a:pPr>
            <a:r>
              <a:rPr lang="fr-FR" dirty="0"/>
              <a:t>                    Tél. : 079 286 39 18</a:t>
            </a:r>
          </a:p>
        </p:txBody>
      </p:sp>
    </p:spTree>
    <p:extLst>
      <p:ext uri="{BB962C8B-B14F-4D97-AF65-F5344CB8AC3E}">
        <p14:creationId xmlns:p14="http://schemas.microsoft.com/office/powerpoint/2010/main" val="30966916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58750" y="304800"/>
            <a:ext cx="8242300" cy="531912"/>
          </a:xfrm>
        </p:spPr>
        <p:txBody>
          <a:bodyPr/>
          <a:lstStyle/>
          <a:p>
            <a:pPr algn="ctr"/>
            <a:r>
              <a:rPr lang="fr-FR" dirty="0">
                <a:latin typeface="Lucida Sans" pitchFamily="34" charset="0"/>
              </a:rPr>
              <a:t>EFZ FABE </a:t>
            </a:r>
            <a:r>
              <a:rPr lang="fr-FR" b="1" dirty="0" err="1"/>
              <a:t>Gesamtnote</a:t>
            </a:r>
            <a:r>
              <a:rPr lang="fr-FR" b="1" dirty="0"/>
              <a:t> des EFZ </a:t>
            </a:r>
            <a:br>
              <a:rPr lang="fr-FR" b="1" dirty="0"/>
            </a:b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908721"/>
            <a:ext cx="8242300" cy="5262979"/>
          </a:xfrm>
        </p:spPr>
        <p:txBody>
          <a:bodyPr/>
          <a:lstStyle/>
          <a:p>
            <a:pPr>
              <a:lnSpc>
                <a:spcPct val="90000"/>
              </a:lnSpc>
              <a:buNone/>
            </a:pPr>
            <a:r>
              <a:rPr lang="fr-FR" sz="1800" b="1" dirty="0"/>
              <a:t>Art. 18 der </a:t>
            </a:r>
            <a:r>
              <a:rPr lang="fr-FR" sz="1800" b="1" dirty="0" err="1"/>
              <a:t>Bildungsverordnung</a:t>
            </a:r>
            <a:r>
              <a:rPr lang="fr-FR" sz="1800" b="1" dirty="0"/>
              <a:t> der </a:t>
            </a:r>
            <a:r>
              <a:rPr lang="fr-FR" sz="1800" b="1" dirty="0" err="1"/>
              <a:t>beruflichen</a:t>
            </a:r>
            <a:r>
              <a:rPr lang="fr-FR" sz="1800" b="1" dirty="0"/>
              <a:t> </a:t>
            </a:r>
            <a:r>
              <a:rPr lang="fr-FR" sz="1800" b="1" dirty="0" err="1"/>
              <a:t>Bildung</a:t>
            </a:r>
            <a:r>
              <a:rPr lang="fr-FR" sz="1800" b="1" dirty="0"/>
              <a:t> </a:t>
            </a:r>
            <a:r>
              <a:rPr lang="fr-FR" sz="1800" b="1" dirty="0" err="1"/>
              <a:t>FaBe</a:t>
            </a:r>
            <a:r>
              <a:rPr lang="fr-FR" sz="1800" b="1" dirty="0"/>
              <a:t> :</a:t>
            </a:r>
            <a:endParaRPr lang="de-DE" sz="1800" b="0" i="0" dirty="0">
              <a:solidFill>
                <a:srgbClr val="454545"/>
              </a:solidFill>
              <a:effectLst/>
              <a:latin typeface="Frutiger Neue"/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None/>
            </a:pPr>
            <a:r>
              <a:rPr lang="de-DE" dirty="0">
                <a:solidFill>
                  <a:srgbClr val="454545"/>
                </a:solidFill>
                <a:latin typeface="Frutiger Neue"/>
              </a:rPr>
              <a:t>     „</a:t>
            </a:r>
            <a:r>
              <a:rPr lang="de-DE" b="0" i="0" dirty="0">
                <a:solidFill>
                  <a:srgbClr val="454545"/>
                </a:solidFill>
                <a:effectLst/>
                <a:latin typeface="Frutiger Neue"/>
              </a:rPr>
              <a:t>Die Gesamtnote ist das auf eine Dezimalstelle gerundete Mittel aus der Summe der gewichteten Noten der einzelnen Qualifikationsbereiche der Abschlussprüfung und der gewichteten Erfahrungsnote; dabei gilt folgende Gewichtung“:</a:t>
            </a:r>
          </a:p>
          <a:p>
            <a:pPr>
              <a:lnSpc>
                <a:spcPct val="90000"/>
              </a:lnSpc>
              <a:spcAft>
                <a:spcPts val="600"/>
              </a:spcAft>
              <a:buNone/>
            </a:pPr>
            <a:endParaRPr lang="fr-FR" sz="800" b="1" dirty="0"/>
          </a:p>
          <a:p>
            <a:pPr marL="0" indent="0">
              <a:lnSpc>
                <a:spcPct val="70000"/>
              </a:lnSpc>
              <a:spcAft>
                <a:spcPts val="1200"/>
              </a:spcAft>
              <a:buNone/>
            </a:pPr>
            <a:r>
              <a:rPr lang="fr-FR" sz="1800" dirty="0"/>
              <a:t>a) Note </a:t>
            </a:r>
            <a:r>
              <a:rPr lang="fr-FR" sz="1800" dirty="0" err="1"/>
              <a:t>praktische</a:t>
            </a:r>
            <a:r>
              <a:rPr lang="fr-FR" sz="1800" dirty="0"/>
              <a:t> </a:t>
            </a:r>
            <a:r>
              <a:rPr lang="fr-FR" sz="1800" dirty="0" err="1"/>
              <a:t>Prüfung</a:t>
            </a:r>
            <a:r>
              <a:rPr lang="fr-FR" sz="1800" dirty="0"/>
              <a:t> : 40 %</a:t>
            </a:r>
          </a:p>
          <a:p>
            <a:pPr marL="0" indent="0">
              <a:lnSpc>
                <a:spcPct val="70000"/>
              </a:lnSpc>
              <a:spcAft>
                <a:spcPts val="1200"/>
              </a:spcAft>
              <a:buNone/>
            </a:pPr>
            <a:r>
              <a:rPr lang="fr-FR" sz="1800" dirty="0"/>
              <a:t>b) Note </a:t>
            </a:r>
            <a:r>
              <a:rPr lang="fr-FR" sz="1800" dirty="0" err="1"/>
              <a:t>Berufskenntnisse</a:t>
            </a:r>
            <a:r>
              <a:rPr lang="fr-FR" sz="1800" dirty="0"/>
              <a:t> ; </a:t>
            </a:r>
            <a:r>
              <a:rPr lang="fr-FR" sz="1800" dirty="0" err="1"/>
              <a:t>schriftliche</a:t>
            </a:r>
            <a:r>
              <a:rPr lang="fr-FR" sz="1800" dirty="0"/>
              <a:t> </a:t>
            </a:r>
            <a:r>
              <a:rPr lang="fr-FR" sz="1800" dirty="0" err="1"/>
              <a:t>Prüfung</a:t>
            </a:r>
            <a:r>
              <a:rPr lang="fr-FR" sz="1800" dirty="0"/>
              <a:t> : 20 %</a:t>
            </a:r>
          </a:p>
          <a:p>
            <a:pPr marL="0" indent="0">
              <a:lnSpc>
                <a:spcPct val="70000"/>
              </a:lnSpc>
              <a:spcAft>
                <a:spcPts val="1200"/>
              </a:spcAft>
              <a:buNone/>
            </a:pPr>
            <a:r>
              <a:rPr lang="fr-FR" sz="1800" dirty="0"/>
              <a:t>c) Note </a:t>
            </a:r>
            <a:r>
              <a:rPr lang="fr-FR" sz="1800" dirty="0" err="1"/>
              <a:t>Allgemeinbildung</a:t>
            </a:r>
            <a:r>
              <a:rPr lang="fr-FR" sz="1800" dirty="0"/>
              <a:t> : 20 %</a:t>
            </a:r>
          </a:p>
          <a:p>
            <a:pPr marL="0" indent="0">
              <a:lnSpc>
                <a:spcPct val="70000"/>
              </a:lnSpc>
              <a:spcAft>
                <a:spcPts val="1200"/>
              </a:spcAft>
              <a:buNone/>
            </a:pPr>
            <a:r>
              <a:rPr lang="fr-FR" sz="1800" dirty="0"/>
              <a:t>d) </a:t>
            </a:r>
            <a:r>
              <a:rPr lang="fr-FR" sz="1800" dirty="0" err="1"/>
              <a:t>Erfahrungsnote</a:t>
            </a:r>
            <a:r>
              <a:rPr lang="fr-FR" sz="1800" dirty="0"/>
              <a:t> 20 % (</a:t>
            </a:r>
            <a:r>
              <a:rPr lang="fr-FR" sz="1800" dirty="0" err="1"/>
              <a:t>Durchschnitt</a:t>
            </a:r>
            <a:r>
              <a:rPr lang="fr-FR" sz="1800" dirty="0"/>
              <a:t> der 6 </a:t>
            </a:r>
            <a:r>
              <a:rPr lang="fr-FR" sz="1800" dirty="0" err="1"/>
              <a:t>Semesternoten</a:t>
            </a:r>
            <a:r>
              <a:rPr lang="fr-FR" sz="1800" dirty="0"/>
              <a:t> des </a:t>
            </a:r>
            <a:r>
              <a:rPr lang="fr-FR" sz="1800" dirty="0" err="1"/>
              <a:t>berufskundli</a:t>
            </a:r>
            <a:r>
              <a:rPr lang="fr-FR" sz="1800" dirty="0"/>
              <a:t>-</a:t>
            </a:r>
          </a:p>
          <a:p>
            <a:pPr marL="0" indent="0">
              <a:lnSpc>
                <a:spcPct val="70000"/>
              </a:lnSpc>
              <a:spcAft>
                <a:spcPts val="1200"/>
              </a:spcAft>
              <a:buNone/>
            </a:pPr>
            <a:r>
              <a:rPr lang="fr-FR" sz="1800" dirty="0"/>
              <a:t>    </a:t>
            </a:r>
            <a:r>
              <a:rPr lang="fr-FR" sz="1800" dirty="0" err="1"/>
              <a:t>chen</a:t>
            </a:r>
            <a:r>
              <a:rPr lang="fr-FR" sz="1800" dirty="0"/>
              <a:t> </a:t>
            </a:r>
            <a:r>
              <a:rPr lang="fr-FR" sz="1800" dirty="0" err="1"/>
              <a:t>Unterricht</a:t>
            </a:r>
            <a:r>
              <a:rPr lang="fr-FR" sz="1800" dirty="0"/>
              <a:t> der </a:t>
            </a:r>
            <a:r>
              <a:rPr lang="fr-FR" sz="1800" dirty="0" err="1"/>
              <a:t>Berufskenntnisse</a:t>
            </a:r>
            <a:r>
              <a:rPr lang="fr-FR" sz="1800" dirty="0"/>
              <a:t>)</a:t>
            </a:r>
          </a:p>
          <a:p>
            <a:pPr algn="ctr">
              <a:lnSpc>
                <a:spcPct val="90000"/>
              </a:lnSpc>
              <a:buNone/>
            </a:pPr>
            <a:r>
              <a:rPr lang="fr-FR" b="1" dirty="0"/>
              <a:t>Das </a:t>
            </a:r>
            <a:r>
              <a:rPr lang="fr-FR" b="1" dirty="0" err="1"/>
              <a:t>Qualifikationsverfahren</a:t>
            </a:r>
            <a:r>
              <a:rPr lang="fr-FR" b="1" dirty="0"/>
              <a:t> </a:t>
            </a:r>
            <a:r>
              <a:rPr lang="fr-FR" b="1" dirty="0" err="1"/>
              <a:t>ist</a:t>
            </a:r>
            <a:r>
              <a:rPr lang="fr-FR" b="1" dirty="0"/>
              <a:t> </a:t>
            </a:r>
            <a:r>
              <a:rPr lang="fr-FR" b="1" dirty="0" err="1"/>
              <a:t>bestanden</a:t>
            </a:r>
            <a:r>
              <a:rPr lang="fr-FR" b="1" dirty="0"/>
              <a:t>, </a:t>
            </a:r>
            <a:r>
              <a:rPr lang="fr-FR" b="1" dirty="0" err="1"/>
              <a:t>wenn</a:t>
            </a:r>
            <a:r>
              <a:rPr lang="fr-FR" b="1" dirty="0"/>
              <a:t> :</a:t>
            </a:r>
          </a:p>
          <a:p>
            <a:pPr>
              <a:lnSpc>
                <a:spcPct val="90000"/>
              </a:lnSpc>
              <a:spcAft>
                <a:spcPts val="0"/>
              </a:spcAft>
              <a:buNone/>
            </a:pPr>
            <a:r>
              <a:rPr lang="fr-FR" sz="1800" dirty="0">
                <a:latin typeface="Webdings" panose="05030102010509060703" pitchFamily="18" charset="2"/>
              </a:rPr>
              <a:t>4</a:t>
            </a:r>
            <a:r>
              <a:rPr lang="fr-FR" sz="1800" dirty="0">
                <a:latin typeface="Arial "/>
              </a:rPr>
              <a:t>Der </a:t>
            </a:r>
            <a:r>
              <a:rPr lang="fr-FR" sz="1800" dirty="0" err="1">
                <a:latin typeface="Arial "/>
              </a:rPr>
              <a:t>Qualifikationsbereich</a:t>
            </a:r>
            <a:r>
              <a:rPr lang="fr-FR" sz="1800" dirty="0">
                <a:latin typeface="Arial "/>
              </a:rPr>
              <a:t> « </a:t>
            </a:r>
            <a:r>
              <a:rPr lang="fr-FR" sz="1800" dirty="0" err="1">
                <a:latin typeface="Arial "/>
              </a:rPr>
              <a:t>praktische</a:t>
            </a:r>
            <a:r>
              <a:rPr lang="fr-FR" sz="1800" dirty="0">
                <a:latin typeface="Arial "/>
              </a:rPr>
              <a:t> </a:t>
            </a:r>
            <a:r>
              <a:rPr lang="fr-FR" sz="1800" dirty="0" err="1">
                <a:latin typeface="Arial "/>
              </a:rPr>
              <a:t>Arbeit</a:t>
            </a:r>
            <a:r>
              <a:rPr lang="fr-FR" sz="1800" dirty="0">
                <a:latin typeface="Arial "/>
              </a:rPr>
              <a:t> » </a:t>
            </a:r>
            <a:r>
              <a:rPr lang="fr-FR" sz="1800" dirty="0" err="1">
                <a:latin typeface="Arial "/>
              </a:rPr>
              <a:t>mindestens</a:t>
            </a:r>
            <a:r>
              <a:rPr lang="fr-FR" sz="1800" dirty="0">
                <a:latin typeface="Arial "/>
              </a:rPr>
              <a:t> mit der Note 4 </a:t>
            </a:r>
          </a:p>
          <a:p>
            <a:pPr>
              <a:lnSpc>
                <a:spcPct val="90000"/>
              </a:lnSpc>
              <a:spcAft>
                <a:spcPts val="1200"/>
              </a:spcAft>
              <a:buNone/>
            </a:pPr>
            <a:r>
              <a:rPr lang="fr-FR" sz="1800" dirty="0">
                <a:latin typeface="Arial "/>
              </a:rPr>
              <a:t>    </a:t>
            </a:r>
            <a:r>
              <a:rPr lang="fr-FR" sz="1800" dirty="0" err="1">
                <a:latin typeface="Arial "/>
              </a:rPr>
              <a:t>bewertet</a:t>
            </a:r>
            <a:r>
              <a:rPr lang="fr-FR" sz="1800" dirty="0">
                <a:latin typeface="Arial "/>
              </a:rPr>
              <a:t> </a:t>
            </a:r>
            <a:r>
              <a:rPr lang="fr-FR" sz="1800" dirty="0" err="1">
                <a:latin typeface="Arial "/>
              </a:rPr>
              <a:t>wird</a:t>
            </a:r>
            <a:endParaRPr lang="fr-FR" sz="1800" dirty="0">
              <a:latin typeface="Arial "/>
            </a:endParaRPr>
          </a:p>
          <a:p>
            <a:pPr>
              <a:lnSpc>
                <a:spcPct val="90000"/>
              </a:lnSpc>
              <a:spcAft>
                <a:spcPts val="1200"/>
              </a:spcAft>
              <a:buNone/>
            </a:pPr>
            <a:r>
              <a:rPr lang="fr-FR" sz="1800" dirty="0">
                <a:latin typeface="Webdings" panose="05030102010509060703" pitchFamily="18" charset="2"/>
              </a:rPr>
              <a:t>4</a:t>
            </a:r>
            <a:r>
              <a:rPr lang="fr-FR" sz="1800" dirty="0">
                <a:latin typeface="Arial "/>
              </a:rPr>
              <a:t>Die </a:t>
            </a:r>
            <a:r>
              <a:rPr lang="fr-FR" sz="1800" dirty="0" err="1">
                <a:latin typeface="Arial "/>
              </a:rPr>
              <a:t>Gesamtnote</a:t>
            </a:r>
            <a:r>
              <a:rPr lang="fr-FR" sz="1800" dirty="0">
                <a:latin typeface="Arial "/>
              </a:rPr>
              <a:t> </a:t>
            </a:r>
            <a:r>
              <a:rPr lang="fr-FR" sz="1800" dirty="0" err="1">
                <a:latin typeface="Arial "/>
              </a:rPr>
              <a:t>mindestens</a:t>
            </a:r>
            <a:r>
              <a:rPr lang="fr-FR" sz="1800" dirty="0">
                <a:latin typeface="Arial "/>
              </a:rPr>
              <a:t> 4 </a:t>
            </a:r>
            <a:r>
              <a:rPr lang="fr-FR" sz="1800" dirty="0" err="1">
                <a:latin typeface="Arial "/>
              </a:rPr>
              <a:t>beträgt</a:t>
            </a:r>
            <a:endParaRPr lang="fr-FR" sz="1800" dirty="0">
              <a:latin typeface="Arial "/>
            </a:endParaRPr>
          </a:p>
          <a:p>
            <a:pPr>
              <a:lnSpc>
                <a:spcPct val="90000"/>
              </a:lnSpc>
              <a:buNone/>
            </a:pPr>
            <a:endParaRPr lang="fr-FR" dirty="0">
              <a:latin typeface="Webdings" panose="05030102010509060703" pitchFamily="18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1486263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3628256"/>
          </a:xfrm>
        </p:spPr>
        <p:txBody>
          <a:bodyPr/>
          <a:lstStyle/>
          <a:p>
            <a:br>
              <a:rPr lang="fr-CH" dirty="0"/>
            </a:b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71934" y="158750"/>
            <a:ext cx="8242300" cy="6632585"/>
          </a:xfrm>
        </p:spPr>
        <p:txBody>
          <a:bodyPr/>
          <a:lstStyle/>
          <a:p>
            <a:pPr algn="ctr">
              <a:buNone/>
            </a:pPr>
            <a:r>
              <a:rPr lang="fr-FR" sz="3200" b="1" dirty="0">
                <a:latin typeface="Lucida Sans" pitchFamily="34" charset="0"/>
              </a:rPr>
              <a:t>EFZ FABE</a:t>
            </a:r>
            <a:endParaRPr lang="fr-CH" sz="3200" b="1" dirty="0"/>
          </a:p>
          <a:p>
            <a:pPr algn="ctr">
              <a:buNone/>
            </a:pPr>
            <a:r>
              <a:rPr lang="fr-CH" b="1" u="sng" dirty="0">
                <a:solidFill>
                  <a:srgbClr val="FF0000"/>
                </a:solidFill>
              </a:rPr>
              <a:t>WICHTIG</a:t>
            </a:r>
            <a:endParaRPr lang="fr-CH" sz="1000" b="1" u="sng" dirty="0"/>
          </a:p>
          <a:p>
            <a:pPr>
              <a:buFont typeface="Arial" pitchFamily="34" charset="0"/>
              <a:buChar char="•"/>
            </a:pPr>
            <a:r>
              <a:rPr lang="fr-CH" sz="1800" b="1" dirty="0" err="1"/>
              <a:t>Fragebogen</a:t>
            </a:r>
            <a:r>
              <a:rPr lang="fr-CH" sz="1800" b="1" dirty="0"/>
              <a:t> «Forms» online (ab </a:t>
            </a:r>
            <a:r>
              <a:rPr lang="fr-CH" sz="1800" b="1" dirty="0" err="1"/>
              <a:t>Mitte-Dezember</a:t>
            </a:r>
            <a:r>
              <a:rPr lang="fr-CH" sz="1800" b="1" dirty="0"/>
              <a:t> </a:t>
            </a:r>
            <a:r>
              <a:rPr lang="fr-CH" sz="1800" b="1" dirty="0" err="1"/>
              <a:t>auf</a:t>
            </a:r>
            <a:r>
              <a:rPr lang="fr-CH" sz="1800" b="1" dirty="0"/>
              <a:t> der </a:t>
            </a:r>
            <a:r>
              <a:rPr lang="fr-CH" sz="1800" b="1" dirty="0" err="1"/>
              <a:t>Homepage</a:t>
            </a:r>
            <a:r>
              <a:rPr lang="fr-CH" sz="1800" b="1" dirty="0"/>
              <a:t> </a:t>
            </a:r>
            <a:r>
              <a:rPr lang="fr-CH" sz="1800" b="1" dirty="0">
                <a:hlinkClick r:id="rId4"/>
              </a:rPr>
              <a:t>www.ortrafr.ch</a:t>
            </a:r>
            <a:r>
              <a:rPr lang="fr-CH" sz="1800" b="1" dirty="0"/>
              <a:t> </a:t>
            </a:r>
            <a:r>
              <a:rPr lang="fr-CH" sz="1800" b="1" dirty="0" err="1"/>
              <a:t>verfügbar</a:t>
            </a:r>
            <a:r>
              <a:rPr lang="fr-CH" sz="1800" b="1" dirty="0"/>
              <a:t>) mit den </a:t>
            </a:r>
            <a:r>
              <a:rPr lang="fr-CH" sz="1800" b="1" dirty="0" err="1"/>
              <a:t>nicht-verfügbaren</a:t>
            </a:r>
            <a:r>
              <a:rPr lang="fr-CH" sz="1800" b="1" dirty="0"/>
              <a:t> </a:t>
            </a:r>
            <a:r>
              <a:rPr lang="fr-CH" sz="1800" b="1" dirty="0" err="1"/>
              <a:t>Daten</a:t>
            </a:r>
            <a:r>
              <a:rPr lang="fr-CH" sz="1800" b="1" dirty="0"/>
              <a:t> </a:t>
            </a:r>
            <a:r>
              <a:rPr lang="fr-CH" sz="1800" b="1" dirty="0" err="1"/>
              <a:t>für</a:t>
            </a:r>
            <a:r>
              <a:rPr lang="fr-CH" sz="1800" b="1" dirty="0"/>
              <a:t> die </a:t>
            </a:r>
            <a:r>
              <a:rPr lang="fr-CH" sz="1800" b="1" dirty="0" err="1"/>
              <a:t>praktische</a:t>
            </a:r>
            <a:r>
              <a:rPr lang="fr-CH" sz="1800" b="1" dirty="0"/>
              <a:t> </a:t>
            </a:r>
            <a:r>
              <a:rPr lang="fr-CH" sz="1800" b="1" dirty="0" err="1"/>
              <a:t>Prüfung</a:t>
            </a:r>
            <a:r>
              <a:rPr lang="fr-CH" sz="1800" b="1" dirty="0"/>
              <a:t> </a:t>
            </a:r>
            <a:r>
              <a:rPr lang="fr-CH" sz="1800" b="1" dirty="0" err="1"/>
              <a:t>sowie</a:t>
            </a:r>
            <a:r>
              <a:rPr lang="fr-CH" sz="1800" b="1" dirty="0"/>
              <a:t> die Zeit </a:t>
            </a:r>
            <a:r>
              <a:rPr lang="fr-CH" sz="1800" b="1" dirty="0" err="1"/>
              <a:t>vom</a:t>
            </a:r>
            <a:r>
              <a:rPr lang="fr-CH" sz="1800" b="1" dirty="0"/>
              <a:t> </a:t>
            </a:r>
            <a:r>
              <a:rPr lang="fr-CH" sz="1800" b="1" dirty="0" err="1"/>
              <a:t>Prüfungsbeginn</a:t>
            </a:r>
            <a:r>
              <a:rPr lang="fr-CH" sz="1800" b="1" dirty="0"/>
              <a:t>  </a:t>
            </a:r>
          </a:p>
          <a:p>
            <a:pPr algn="ctr">
              <a:buFont typeface="Wingdings" panose="05000000000000000000" pitchFamily="2" charset="2"/>
              <a:buChar char="Ø"/>
            </a:pPr>
            <a:r>
              <a:rPr lang="fr-CH" sz="1800" b="1" dirty="0" err="1"/>
              <a:t>auszufüllen</a:t>
            </a:r>
            <a:r>
              <a:rPr lang="fr-CH" sz="1800" b="1" dirty="0"/>
              <a:t> bis </a:t>
            </a:r>
            <a:r>
              <a:rPr lang="fr-CH" sz="1800" b="1" dirty="0">
                <a:solidFill>
                  <a:srgbClr val="FF0000"/>
                </a:solidFill>
                <a:highlight>
                  <a:srgbClr val="FFFF00"/>
                </a:highlight>
              </a:rPr>
              <a:t>10. </a:t>
            </a:r>
            <a:r>
              <a:rPr lang="fr-CH" sz="1800" b="1" dirty="0" err="1">
                <a:solidFill>
                  <a:srgbClr val="FF0000"/>
                </a:solidFill>
                <a:highlight>
                  <a:srgbClr val="FFFF00"/>
                </a:highlight>
              </a:rPr>
              <a:t>Januar</a:t>
            </a:r>
            <a:r>
              <a:rPr lang="fr-CH" sz="1800" b="1" dirty="0">
                <a:solidFill>
                  <a:srgbClr val="FF0000"/>
                </a:solidFill>
                <a:highlight>
                  <a:srgbClr val="FFFF00"/>
                </a:highlight>
              </a:rPr>
              <a:t> 2025</a:t>
            </a:r>
          </a:p>
          <a:p>
            <a:pPr marL="0" indent="0" algn="ctr">
              <a:buNone/>
            </a:pPr>
            <a:endParaRPr lang="fr-CH" sz="1800" b="1" dirty="0"/>
          </a:p>
          <a:p>
            <a:pPr>
              <a:buFont typeface="Arial" pitchFamily="34" charset="0"/>
              <a:buChar char="•"/>
            </a:pPr>
            <a:r>
              <a:rPr lang="fr-CH" sz="1800" b="1" dirty="0"/>
              <a:t>Dossier / </a:t>
            </a:r>
            <a:r>
              <a:rPr lang="fr-CH" sz="1800" b="1" dirty="0" err="1"/>
              <a:t>Programm</a:t>
            </a:r>
            <a:r>
              <a:rPr lang="fr-CH" sz="1800" b="1" dirty="0"/>
              <a:t> </a:t>
            </a:r>
            <a:r>
              <a:rPr lang="fr-CH" sz="1800" b="1" dirty="0" err="1"/>
              <a:t>praktische</a:t>
            </a:r>
            <a:r>
              <a:rPr lang="fr-CH" sz="1800" b="1" dirty="0"/>
              <a:t> </a:t>
            </a:r>
            <a:r>
              <a:rPr lang="fr-CH" sz="1800" b="1" dirty="0" err="1"/>
              <a:t>Prüfung</a:t>
            </a:r>
            <a:r>
              <a:rPr lang="fr-CH" sz="1800" b="1" dirty="0"/>
              <a:t> VPA</a:t>
            </a:r>
          </a:p>
          <a:p>
            <a:pPr algn="ctr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fr-CH" sz="1800" b="1" dirty="0"/>
              <a:t>bis </a:t>
            </a:r>
            <a:r>
              <a:rPr lang="fr-CH" sz="1800" b="1" dirty="0">
                <a:solidFill>
                  <a:srgbClr val="FF0000"/>
                </a:solidFill>
                <a:highlight>
                  <a:srgbClr val="FFFF00"/>
                </a:highlight>
              </a:rPr>
              <a:t>01. April 2025</a:t>
            </a:r>
          </a:p>
          <a:p>
            <a:pPr marL="0" indent="0" algn="ctr">
              <a:spcAft>
                <a:spcPts val="600"/>
              </a:spcAft>
              <a:buNone/>
            </a:pPr>
            <a:endParaRPr lang="fr-CH" sz="1200" b="1" dirty="0">
              <a:solidFill>
                <a:srgbClr val="FF0000"/>
              </a:solidFill>
            </a:endParaRPr>
          </a:p>
          <a:p>
            <a:pPr>
              <a:spcAft>
                <a:spcPts val="0"/>
              </a:spcAft>
              <a:buNone/>
            </a:pPr>
            <a:r>
              <a:rPr lang="fr-CH" sz="1800" dirty="0"/>
              <a:t>	 an die </a:t>
            </a:r>
            <a:r>
              <a:rPr lang="fr-CH" sz="1800" dirty="0" err="1"/>
              <a:t>Chefexpertin</a:t>
            </a:r>
            <a:r>
              <a:rPr lang="fr-CH" sz="1800" dirty="0"/>
              <a:t> </a:t>
            </a:r>
            <a:r>
              <a:rPr lang="fr-CH" sz="1800" dirty="0" err="1"/>
              <a:t>schicken</a:t>
            </a:r>
            <a:r>
              <a:rPr lang="fr-CH" sz="1800" dirty="0"/>
              <a:t> (in 3-facher </a:t>
            </a:r>
            <a:r>
              <a:rPr lang="fr-CH" sz="1800" dirty="0" err="1"/>
              <a:t>Ausführung</a:t>
            </a:r>
            <a:r>
              <a:rPr lang="fr-CH" sz="1800" dirty="0"/>
              <a:t>) :</a:t>
            </a:r>
          </a:p>
          <a:p>
            <a:pPr>
              <a:spcAft>
                <a:spcPts val="0"/>
              </a:spcAft>
              <a:buNone/>
            </a:pPr>
            <a:endParaRPr lang="fr-CH" sz="1200" dirty="0"/>
          </a:p>
          <a:p>
            <a:pPr algn="ctr">
              <a:spcAft>
                <a:spcPts val="600"/>
              </a:spcAft>
              <a:buNone/>
            </a:pPr>
            <a:r>
              <a:rPr lang="fr-CH" sz="1800" b="1" dirty="0"/>
              <a:t>		</a:t>
            </a:r>
            <a:r>
              <a:rPr lang="fr-CH" sz="1800" b="1" dirty="0" err="1"/>
              <a:t>OrTra</a:t>
            </a:r>
            <a:r>
              <a:rPr lang="fr-CH" sz="1800" b="1" dirty="0"/>
              <a:t> </a:t>
            </a:r>
            <a:r>
              <a:rPr lang="fr-CH" sz="1800" b="1" dirty="0" err="1"/>
              <a:t>Gesundheit</a:t>
            </a:r>
            <a:r>
              <a:rPr lang="fr-CH" sz="1800" b="1" dirty="0"/>
              <a:t> </a:t>
            </a:r>
            <a:r>
              <a:rPr lang="fr-CH" sz="1800" b="1" dirty="0" err="1"/>
              <a:t>und</a:t>
            </a:r>
            <a:r>
              <a:rPr lang="fr-CH" sz="1800" b="1" dirty="0"/>
              <a:t> </a:t>
            </a:r>
            <a:r>
              <a:rPr lang="fr-CH" sz="1800" b="1" dirty="0" err="1"/>
              <a:t>Soziales</a:t>
            </a:r>
            <a:endParaRPr lang="fr-CH" sz="1800" b="1" dirty="0"/>
          </a:p>
          <a:p>
            <a:pPr algn="ctr">
              <a:spcAft>
                <a:spcPts val="600"/>
              </a:spcAft>
              <a:buNone/>
            </a:pPr>
            <a:r>
              <a:rPr lang="fr-CH" sz="1800" b="1" dirty="0"/>
              <a:t>Susan Bielmann, </a:t>
            </a:r>
            <a:r>
              <a:rPr lang="fr-CH" sz="1800" b="1" dirty="0" err="1"/>
              <a:t>Chefexpertin</a:t>
            </a:r>
            <a:endParaRPr lang="fr-CH" sz="1800" b="1" dirty="0"/>
          </a:p>
          <a:p>
            <a:pPr algn="ctr">
              <a:spcAft>
                <a:spcPts val="600"/>
              </a:spcAft>
              <a:buNone/>
            </a:pPr>
            <a:r>
              <a:rPr lang="fr-CH" sz="1800" b="1" dirty="0"/>
              <a:t>Zone industrielle Le Vivier 15</a:t>
            </a:r>
          </a:p>
          <a:p>
            <a:pPr algn="ctr">
              <a:spcAft>
                <a:spcPts val="600"/>
              </a:spcAft>
              <a:buNone/>
            </a:pPr>
            <a:r>
              <a:rPr lang="fr-CH" sz="1800" b="1" dirty="0"/>
              <a:t>1690 </a:t>
            </a:r>
            <a:r>
              <a:rPr lang="fr-CH" sz="1800" b="1" dirty="0" err="1"/>
              <a:t>Villaz</a:t>
            </a:r>
            <a:r>
              <a:rPr lang="fr-CH" sz="1800" b="1" dirty="0"/>
              <a:t>-St-Pierre</a:t>
            </a:r>
          </a:p>
          <a:p>
            <a:pPr>
              <a:buFont typeface="Arial" pitchFamily="34" charset="0"/>
              <a:buChar char="•"/>
            </a:pPr>
            <a:endParaRPr lang="fr-CH" sz="1800" b="1" dirty="0"/>
          </a:p>
          <a:p>
            <a:pPr algn="ctr">
              <a:buNone/>
            </a:pPr>
            <a:endParaRPr lang="fr-FR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1"/>
            <a:ext cx="8242300" cy="1423467"/>
          </a:xfrm>
        </p:spPr>
        <p:txBody>
          <a:bodyPr/>
          <a:lstStyle/>
          <a:p>
            <a:pPr algn="ctr"/>
            <a:r>
              <a:rPr lang="fr-CH" dirty="0" err="1"/>
              <a:t>Verordnung</a:t>
            </a:r>
            <a:r>
              <a:rPr lang="fr-CH" dirty="0"/>
              <a:t> </a:t>
            </a:r>
            <a:r>
              <a:rPr lang="fr-CH" dirty="0" err="1"/>
              <a:t>über</a:t>
            </a:r>
            <a:r>
              <a:rPr lang="fr-CH" dirty="0"/>
              <a:t> die </a:t>
            </a:r>
            <a:r>
              <a:rPr lang="fr-CH" dirty="0" err="1"/>
              <a:t>berufliche</a:t>
            </a:r>
            <a:r>
              <a:rPr lang="fr-CH" dirty="0"/>
              <a:t> </a:t>
            </a:r>
            <a:r>
              <a:rPr lang="fr-CH" dirty="0" err="1"/>
              <a:t>Grundbildung</a:t>
            </a:r>
            <a:r>
              <a:rPr lang="fr-CH" dirty="0"/>
              <a:t> </a:t>
            </a:r>
            <a:r>
              <a:rPr lang="fr-CH" dirty="0" err="1"/>
              <a:t>FaBe</a:t>
            </a:r>
            <a:r>
              <a:rPr lang="fr-CH" dirty="0"/>
              <a:t> </a:t>
            </a:r>
            <a:r>
              <a:rPr lang="fr-CH" dirty="0" err="1"/>
              <a:t>vom</a:t>
            </a:r>
            <a:r>
              <a:rPr lang="fr-CH" dirty="0"/>
              <a:t> 21. August 2020</a:t>
            </a:r>
            <a:br>
              <a:rPr lang="fr-FR" dirty="0"/>
            </a:b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916832"/>
            <a:ext cx="8242300" cy="3308598"/>
          </a:xfrm>
        </p:spPr>
        <p:txBody>
          <a:bodyPr/>
          <a:lstStyle/>
          <a:p>
            <a:endParaRPr lang="fr-CH" dirty="0"/>
          </a:p>
          <a:p>
            <a:pPr>
              <a:buNone/>
            </a:pPr>
            <a:r>
              <a:rPr lang="fr-CH" b="1" dirty="0"/>
              <a:t>     3 </a:t>
            </a:r>
            <a:r>
              <a:rPr lang="fr-CH" b="1" dirty="0" err="1"/>
              <a:t>Qualifikationsbereiche</a:t>
            </a:r>
            <a:r>
              <a:rPr lang="fr-CH" b="1" dirty="0"/>
              <a:t> </a:t>
            </a:r>
            <a:r>
              <a:rPr lang="fr-CH" b="1" dirty="0" err="1"/>
              <a:t>werden</a:t>
            </a:r>
            <a:r>
              <a:rPr lang="fr-CH" b="1" dirty="0"/>
              <a:t> </a:t>
            </a:r>
            <a:r>
              <a:rPr lang="fr-CH" b="1" dirty="0" err="1"/>
              <a:t>geprüft</a:t>
            </a:r>
            <a:r>
              <a:rPr lang="fr-CH" b="1" dirty="0"/>
              <a:t> (</a:t>
            </a:r>
            <a:r>
              <a:rPr lang="fr-CH" b="1" dirty="0" err="1"/>
              <a:t>Artikel</a:t>
            </a:r>
            <a:r>
              <a:rPr lang="fr-CH" b="1" dirty="0"/>
              <a:t> 17 der </a:t>
            </a:r>
            <a:r>
              <a:rPr lang="fr-CH" b="1" dirty="0" err="1"/>
              <a:t>BiVo</a:t>
            </a:r>
            <a:r>
              <a:rPr lang="fr-CH" b="1" dirty="0"/>
              <a:t>)</a:t>
            </a:r>
          </a:p>
          <a:p>
            <a:pPr>
              <a:buNone/>
            </a:pPr>
            <a:endParaRPr lang="fr-CH" sz="1800" dirty="0"/>
          </a:p>
          <a:p>
            <a:pPr>
              <a:buFont typeface="Arial" pitchFamily="34" charset="0"/>
              <a:buChar char="•"/>
            </a:pPr>
            <a:r>
              <a:rPr lang="fr-CH" sz="2400" dirty="0" err="1"/>
              <a:t>Artikel</a:t>
            </a:r>
            <a:r>
              <a:rPr lang="fr-CH" sz="2400" dirty="0"/>
              <a:t> 17 a) : </a:t>
            </a:r>
            <a:r>
              <a:rPr lang="fr-CH" sz="2400" dirty="0" err="1"/>
              <a:t>Bereich</a:t>
            </a:r>
            <a:r>
              <a:rPr lang="fr-CH" sz="2400" dirty="0"/>
              <a:t> «</a:t>
            </a:r>
            <a:r>
              <a:rPr lang="fr-CH" sz="2400" dirty="0" err="1"/>
              <a:t>Praktische</a:t>
            </a:r>
            <a:r>
              <a:rPr lang="fr-CH" sz="2400" dirty="0"/>
              <a:t> </a:t>
            </a:r>
            <a:r>
              <a:rPr lang="fr-CH" sz="2400" dirty="0" err="1"/>
              <a:t>Arbeit</a:t>
            </a:r>
            <a:r>
              <a:rPr lang="fr-CH" sz="2400" dirty="0"/>
              <a:t>» (VPA)</a:t>
            </a:r>
          </a:p>
          <a:p>
            <a:pPr>
              <a:buFontTx/>
              <a:buChar char="•"/>
            </a:pPr>
            <a:r>
              <a:rPr lang="fr-CH" sz="2400" dirty="0" err="1"/>
              <a:t>Artikel</a:t>
            </a:r>
            <a:r>
              <a:rPr lang="fr-CH" sz="2400" dirty="0"/>
              <a:t> 17 b) : </a:t>
            </a:r>
            <a:r>
              <a:rPr lang="fr-CH" sz="2400" dirty="0" err="1"/>
              <a:t>Bereich</a:t>
            </a:r>
            <a:r>
              <a:rPr lang="fr-CH" sz="2400" dirty="0"/>
              <a:t> «</a:t>
            </a:r>
            <a:r>
              <a:rPr lang="fr-CH" sz="2400" dirty="0" err="1"/>
              <a:t>Berufskenntnisse</a:t>
            </a:r>
            <a:r>
              <a:rPr lang="fr-CH" sz="2400" dirty="0"/>
              <a:t>» (BK)</a:t>
            </a:r>
            <a:endParaRPr lang="fr-FR" sz="2400" dirty="0"/>
          </a:p>
          <a:p>
            <a:pPr>
              <a:buFontTx/>
              <a:buChar char="•"/>
            </a:pPr>
            <a:r>
              <a:rPr lang="fr-CH" sz="2400" dirty="0" err="1"/>
              <a:t>Artikel</a:t>
            </a:r>
            <a:r>
              <a:rPr lang="fr-CH" sz="2400" dirty="0"/>
              <a:t> 17 c) : </a:t>
            </a:r>
            <a:r>
              <a:rPr lang="fr-CH" sz="2400" dirty="0" err="1"/>
              <a:t>Bereich</a:t>
            </a:r>
            <a:r>
              <a:rPr lang="fr-CH" sz="2400" dirty="0"/>
              <a:t> «</a:t>
            </a:r>
            <a:r>
              <a:rPr lang="fr-CH" sz="2400" dirty="0" err="1"/>
              <a:t>Allgemeinbildung</a:t>
            </a:r>
            <a:r>
              <a:rPr lang="fr-CH" sz="2400" dirty="0"/>
              <a:t>» (ABU)</a:t>
            </a:r>
            <a:endParaRPr lang="fr-FR" sz="2400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92251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542044"/>
            <a:ext cx="8242300" cy="474489"/>
          </a:xfrm>
        </p:spPr>
        <p:txBody>
          <a:bodyPr/>
          <a:lstStyle/>
          <a:p>
            <a:pPr algn="ctr"/>
            <a:r>
              <a:rPr lang="fr-FR" dirty="0" err="1">
                <a:latin typeface="Lucida Sans" pitchFamily="34" charset="0"/>
              </a:rPr>
              <a:t>Gesuch</a:t>
            </a:r>
            <a:r>
              <a:rPr lang="fr-FR" dirty="0">
                <a:latin typeface="Lucida Sans" pitchFamily="34" charset="0"/>
              </a:rPr>
              <a:t> </a:t>
            </a:r>
            <a:r>
              <a:rPr lang="fr-FR" dirty="0" err="1">
                <a:latin typeface="Lucida Sans" pitchFamily="34" charset="0"/>
              </a:rPr>
              <a:t>für</a:t>
            </a:r>
            <a:r>
              <a:rPr lang="fr-FR" dirty="0">
                <a:latin typeface="Lucida Sans" pitchFamily="34" charset="0"/>
              </a:rPr>
              <a:t> </a:t>
            </a:r>
            <a:r>
              <a:rPr lang="fr-FR" dirty="0" err="1">
                <a:latin typeface="Lucida Sans" pitchFamily="34" charset="0"/>
              </a:rPr>
              <a:t>Nachteilsausgleich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91877" y="1620812"/>
            <a:ext cx="8242300" cy="4770537"/>
          </a:xfrm>
        </p:spPr>
        <p:txBody>
          <a:bodyPr/>
          <a:lstStyle/>
          <a:p>
            <a:pPr>
              <a:buFontTx/>
              <a:buChar char="•"/>
            </a:pPr>
            <a:r>
              <a:rPr lang="fr-CH" dirty="0"/>
              <a:t>Um </a:t>
            </a:r>
            <a:r>
              <a:rPr lang="fr-CH" dirty="0" err="1"/>
              <a:t>ein</a:t>
            </a:r>
            <a:r>
              <a:rPr lang="fr-CH" dirty="0"/>
              <a:t> </a:t>
            </a:r>
            <a:r>
              <a:rPr lang="fr-CH" dirty="0" err="1"/>
              <a:t>angemessenes</a:t>
            </a:r>
            <a:r>
              <a:rPr lang="fr-CH" dirty="0"/>
              <a:t> </a:t>
            </a:r>
            <a:r>
              <a:rPr lang="fr-CH" dirty="0" err="1"/>
              <a:t>Qualifikationsverfahren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gewährleisten</a:t>
            </a:r>
            <a:r>
              <a:rPr lang="fr-CH" dirty="0"/>
              <a:t>, </a:t>
            </a:r>
            <a:r>
              <a:rPr lang="fr-CH" dirty="0" err="1"/>
              <a:t>können</a:t>
            </a:r>
            <a:r>
              <a:rPr lang="fr-CH" dirty="0"/>
              <a:t> </a:t>
            </a:r>
            <a:r>
              <a:rPr lang="fr-CH" dirty="0" err="1"/>
              <a:t>Sie</a:t>
            </a:r>
            <a:r>
              <a:rPr lang="fr-CH" dirty="0"/>
              <a:t> </a:t>
            </a:r>
            <a:r>
              <a:rPr lang="fr-CH" dirty="0" err="1"/>
              <a:t>dem</a:t>
            </a:r>
            <a:r>
              <a:rPr lang="fr-CH" dirty="0"/>
              <a:t> </a:t>
            </a:r>
            <a:r>
              <a:rPr lang="fr-CH" dirty="0" err="1"/>
              <a:t>Abteilungsvorsteher</a:t>
            </a:r>
            <a:r>
              <a:rPr lang="fr-CH" dirty="0"/>
              <a:t> Herr Marcel Rhyn der ESSG </a:t>
            </a:r>
            <a:r>
              <a:rPr lang="fr-CH" dirty="0" err="1"/>
              <a:t>Schule</a:t>
            </a:r>
            <a:r>
              <a:rPr lang="fr-CH" dirty="0"/>
              <a:t> in </a:t>
            </a:r>
            <a:r>
              <a:rPr lang="fr-CH" dirty="0" err="1"/>
              <a:t>Posieux</a:t>
            </a:r>
            <a:r>
              <a:rPr lang="fr-CH" dirty="0"/>
              <a:t> </a:t>
            </a:r>
            <a:r>
              <a:rPr lang="fr-CH" dirty="0" err="1"/>
              <a:t>ein</a:t>
            </a:r>
            <a:r>
              <a:rPr lang="fr-CH" dirty="0"/>
              <a:t> </a:t>
            </a:r>
            <a:r>
              <a:rPr lang="fr-CH" dirty="0" err="1"/>
              <a:t>entsprechendes</a:t>
            </a:r>
            <a:r>
              <a:rPr lang="fr-CH" dirty="0"/>
              <a:t> </a:t>
            </a:r>
            <a:r>
              <a:rPr lang="fr-CH" dirty="0" err="1"/>
              <a:t>Gesuch</a:t>
            </a:r>
            <a:r>
              <a:rPr lang="fr-CH" dirty="0"/>
              <a:t> um </a:t>
            </a:r>
            <a:r>
              <a:rPr lang="fr-CH" dirty="0" err="1"/>
              <a:t>eine</a:t>
            </a:r>
            <a:r>
              <a:rPr lang="fr-CH" dirty="0"/>
              <a:t> </a:t>
            </a:r>
            <a:r>
              <a:rPr lang="fr-CH" dirty="0" err="1"/>
              <a:t>Prüfungs-erleichterung</a:t>
            </a:r>
            <a:r>
              <a:rPr lang="fr-CH" dirty="0"/>
              <a:t> </a:t>
            </a:r>
            <a:r>
              <a:rPr lang="fr-CH" dirty="0" err="1"/>
              <a:t>einreichen</a:t>
            </a:r>
            <a:r>
              <a:rPr lang="fr-CH" dirty="0"/>
              <a:t>. </a:t>
            </a:r>
            <a:r>
              <a:rPr lang="fr-CH" dirty="0" err="1"/>
              <a:t>Internetseite</a:t>
            </a:r>
            <a:r>
              <a:rPr lang="fr-CH" dirty="0"/>
              <a:t> </a:t>
            </a:r>
            <a:r>
              <a:rPr lang="fr-CH" dirty="0" err="1"/>
              <a:t>unter</a:t>
            </a:r>
            <a:r>
              <a:rPr lang="fr-CH" dirty="0"/>
              <a:t> : </a:t>
            </a:r>
          </a:p>
          <a:p>
            <a:pPr>
              <a:buFontTx/>
              <a:buChar char="•"/>
            </a:pPr>
            <a:r>
              <a:rPr lang="fr-FR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r.ch/bba</a:t>
            </a:r>
            <a:endParaRPr lang="fr-FR" dirty="0"/>
          </a:p>
          <a:p>
            <a:pPr lvl="2">
              <a:buFontTx/>
              <a:buChar char="•"/>
            </a:pPr>
            <a:r>
              <a:rPr lang="fr-FR" dirty="0" err="1"/>
              <a:t>Rubrik</a:t>
            </a:r>
            <a:r>
              <a:rPr lang="fr-FR" dirty="0"/>
              <a:t> « </a:t>
            </a:r>
            <a:r>
              <a:rPr lang="fr-FR" dirty="0" err="1"/>
              <a:t>Während</a:t>
            </a:r>
            <a:r>
              <a:rPr lang="fr-FR" dirty="0"/>
              <a:t> der </a:t>
            </a:r>
            <a:r>
              <a:rPr lang="fr-FR" dirty="0" err="1"/>
              <a:t>Lehre</a:t>
            </a:r>
            <a:r>
              <a:rPr lang="fr-FR" dirty="0"/>
              <a:t> »</a:t>
            </a:r>
          </a:p>
          <a:p>
            <a:pPr marL="274637" lvl="2" indent="0">
              <a:buNone/>
            </a:pPr>
            <a:endParaRPr lang="fr-FR" sz="400" dirty="0"/>
          </a:p>
          <a:p>
            <a:pPr lvl="4">
              <a:lnSpc>
                <a:spcPct val="80000"/>
              </a:lnSpc>
              <a:buFontTx/>
              <a:buChar char="•"/>
            </a:pPr>
            <a:r>
              <a:rPr lang="fr-FR" dirty="0" err="1"/>
              <a:t>Qualifikationsverfahren</a:t>
            </a:r>
            <a:r>
              <a:rPr lang="fr-FR" dirty="0"/>
              <a:t> - </a:t>
            </a:r>
            <a:r>
              <a:rPr lang="fr-FR" dirty="0" err="1"/>
              <a:t>Prüfungen</a:t>
            </a:r>
            <a:r>
              <a:rPr lang="fr-FR" dirty="0"/>
              <a:t> :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 	       «</a:t>
            </a:r>
            <a:r>
              <a:rPr lang="fr-CH" dirty="0" err="1"/>
              <a:t>Leitfaden</a:t>
            </a:r>
            <a:r>
              <a:rPr lang="fr-CH" dirty="0"/>
              <a:t> </a:t>
            </a:r>
            <a:r>
              <a:rPr lang="fr-CH" dirty="0" err="1"/>
              <a:t>für</a:t>
            </a:r>
            <a:r>
              <a:rPr lang="fr-CH" dirty="0"/>
              <a:t> die </a:t>
            </a:r>
            <a:r>
              <a:rPr lang="fr-CH" dirty="0" err="1"/>
              <a:t>Gewährung</a:t>
            </a:r>
            <a:r>
              <a:rPr lang="fr-CH" dirty="0"/>
              <a:t> von </a:t>
            </a:r>
            <a:r>
              <a:rPr lang="fr-CH" dirty="0" err="1"/>
              <a:t>Massnahmen</a:t>
            </a:r>
            <a:r>
              <a:rPr lang="fr-CH" dirty="0"/>
              <a:t> </a:t>
            </a:r>
            <a:r>
              <a:rPr lang="fr-CH" dirty="0" err="1"/>
              <a:t>zum</a:t>
            </a:r>
            <a:r>
              <a:rPr lang="fr-CH" dirty="0"/>
              <a:t> 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               </a:t>
            </a:r>
            <a:r>
              <a:rPr lang="fr-CH" dirty="0" err="1"/>
              <a:t>Nachteilsausgleich</a:t>
            </a:r>
            <a:r>
              <a:rPr lang="fr-CH" dirty="0"/>
              <a:t> BBA»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              (z. </a:t>
            </a:r>
            <a:r>
              <a:rPr lang="fr-CH" dirty="0" err="1"/>
              <a:t>Bsp</a:t>
            </a:r>
            <a:r>
              <a:rPr lang="fr-CH" dirty="0"/>
              <a:t>. </a:t>
            </a:r>
            <a:r>
              <a:rPr lang="fr-CH" dirty="0" err="1"/>
              <a:t>bei</a:t>
            </a:r>
            <a:r>
              <a:rPr lang="fr-CH" dirty="0"/>
              <a:t> Dyslexie, </a:t>
            </a:r>
            <a:r>
              <a:rPr lang="fr-CH" dirty="0" err="1"/>
              <a:t>Dyskalkulie</a:t>
            </a:r>
            <a:r>
              <a:rPr lang="fr-CH" dirty="0"/>
              <a:t>, </a:t>
            </a:r>
            <a:r>
              <a:rPr lang="fr-CH" dirty="0" err="1"/>
              <a:t>kognitive</a:t>
            </a:r>
            <a:r>
              <a:rPr lang="fr-CH" dirty="0"/>
              <a:t> </a:t>
            </a:r>
            <a:r>
              <a:rPr lang="fr-CH" dirty="0" err="1"/>
              <a:t>oder</a:t>
            </a:r>
            <a:r>
              <a:rPr lang="fr-CH" dirty="0"/>
              <a:t> </a:t>
            </a:r>
            <a:r>
              <a:rPr lang="fr-CH" dirty="0" err="1"/>
              <a:t>psychische</a:t>
            </a:r>
            <a:r>
              <a:rPr lang="fr-CH" dirty="0"/>
              <a:t> 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               </a:t>
            </a:r>
            <a:r>
              <a:rPr lang="fr-CH" dirty="0" err="1"/>
              <a:t>Beeinträchtigung</a:t>
            </a:r>
            <a:r>
              <a:rPr lang="fr-CH" dirty="0"/>
              <a:t> etc.)</a:t>
            </a:r>
          </a:p>
          <a:p>
            <a:pPr marL="0" indent="0">
              <a:spcAft>
                <a:spcPts val="0"/>
              </a:spcAft>
              <a:buNone/>
            </a:pPr>
            <a:endParaRPr lang="fr-CH" dirty="0"/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089562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D648AB4-F9AF-3C17-CA9F-C058689E7E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724" y="404664"/>
            <a:ext cx="8242300" cy="720080"/>
          </a:xfrm>
        </p:spPr>
        <p:txBody>
          <a:bodyPr/>
          <a:lstStyle/>
          <a:p>
            <a:pPr algn="ctr"/>
            <a:r>
              <a:rPr lang="fr-CH" sz="4000" dirty="0">
                <a:latin typeface="Lucida Sans" pitchFamily="34" charset="0"/>
              </a:rPr>
              <a:t>EFZ FABE</a:t>
            </a:r>
            <a:endParaRPr lang="fr-CH" sz="4000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3DA8A85-1FF1-97B9-D00E-E79B12B16C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3123932"/>
          </a:xfrm>
        </p:spPr>
        <p:txBody>
          <a:bodyPr/>
          <a:lstStyle/>
          <a:p>
            <a:pPr marL="0" indent="0">
              <a:buNone/>
            </a:pPr>
            <a:r>
              <a:rPr lang="fr-CH" sz="2200" b="1" u="sng" dirty="0" err="1"/>
              <a:t>Aufgebot</a:t>
            </a:r>
            <a:r>
              <a:rPr lang="fr-CH" sz="2200" b="1" u="sng" dirty="0"/>
              <a:t> </a:t>
            </a:r>
            <a:r>
              <a:rPr lang="fr-CH" sz="2200" b="1" u="sng" dirty="0" err="1"/>
              <a:t>vom</a:t>
            </a:r>
            <a:r>
              <a:rPr lang="fr-CH" sz="2200" b="1" u="sng" dirty="0"/>
              <a:t> </a:t>
            </a:r>
            <a:r>
              <a:rPr lang="fr-CH" sz="2200" b="1" u="sng" dirty="0" err="1"/>
              <a:t>Amt</a:t>
            </a:r>
            <a:r>
              <a:rPr lang="fr-CH" sz="2200" b="1" u="sng" dirty="0"/>
              <a:t> </a:t>
            </a:r>
            <a:r>
              <a:rPr lang="fr-CH" sz="2200" b="1" u="sng" dirty="0" err="1"/>
              <a:t>für</a:t>
            </a:r>
            <a:r>
              <a:rPr lang="fr-CH" sz="2200" b="1" u="sng" dirty="0"/>
              <a:t> </a:t>
            </a:r>
            <a:r>
              <a:rPr lang="fr-CH" sz="2200" b="1" u="sng" dirty="0" err="1"/>
              <a:t>Berufsbildung</a:t>
            </a:r>
            <a:r>
              <a:rPr lang="fr-CH" sz="2200" b="1" u="sng" dirty="0"/>
              <a:t> </a:t>
            </a:r>
            <a:r>
              <a:rPr lang="fr-CH" dirty="0"/>
              <a:t>:</a:t>
            </a:r>
          </a:p>
          <a:p>
            <a:pPr marL="0" indent="0">
              <a:buNone/>
            </a:pPr>
            <a:endParaRPr lang="fr-CH" dirty="0"/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Mit </a:t>
            </a:r>
            <a:r>
              <a:rPr lang="fr-CH" dirty="0" err="1"/>
              <a:t>allen</a:t>
            </a:r>
            <a:r>
              <a:rPr lang="fr-CH" dirty="0"/>
              <a:t> </a:t>
            </a:r>
            <a:r>
              <a:rPr lang="fr-CH" dirty="0" err="1"/>
              <a:t>Prüfungsdaten</a:t>
            </a:r>
            <a:r>
              <a:rPr lang="fr-CH" dirty="0"/>
              <a:t> (</a:t>
            </a:r>
            <a:r>
              <a:rPr lang="fr-CH" dirty="0" err="1"/>
              <a:t>Datum</a:t>
            </a:r>
            <a:r>
              <a:rPr lang="fr-CH" dirty="0"/>
              <a:t> der </a:t>
            </a:r>
            <a:r>
              <a:rPr lang="fr-CH" dirty="0" err="1"/>
              <a:t>praktischen</a:t>
            </a:r>
            <a:r>
              <a:rPr lang="fr-CH" dirty="0"/>
              <a:t> </a:t>
            </a:r>
            <a:r>
              <a:rPr lang="fr-CH" dirty="0" err="1"/>
              <a:t>Prüfung</a:t>
            </a:r>
            <a:r>
              <a:rPr lang="fr-CH" dirty="0"/>
              <a:t>, Zeit, </a:t>
            </a:r>
            <a:r>
              <a:rPr lang="fr-CH" dirty="0" err="1"/>
              <a:t>Experten</a:t>
            </a:r>
            <a:r>
              <a:rPr lang="fr-CH" dirty="0"/>
              <a:t>), </a:t>
            </a:r>
            <a:r>
              <a:rPr lang="fr-CH" dirty="0" err="1"/>
              <a:t>sowie</a:t>
            </a:r>
            <a:r>
              <a:rPr lang="fr-CH" dirty="0"/>
              <a:t> </a:t>
            </a:r>
            <a:r>
              <a:rPr lang="fr-CH" dirty="0" err="1"/>
              <a:t>Informationen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den </a:t>
            </a:r>
            <a:r>
              <a:rPr lang="fr-CH" dirty="0" err="1"/>
              <a:t>schriftlichen</a:t>
            </a:r>
            <a:r>
              <a:rPr lang="fr-CH" dirty="0"/>
              <a:t> </a:t>
            </a:r>
            <a:r>
              <a:rPr lang="fr-CH" dirty="0" err="1"/>
              <a:t>Prüfungen</a:t>
            </a:r>
            <a:r>
              <a:rPr lang="fr-CH" dirty="0"/>
              <a:t> (</a:t>
            </a:r>
            <a:r>
              <a:rPr lang="fr-CH" dirty="0" err="1"/>
              <a:t>Ort</a:t>
            </a:r>
            <a:r>
              <a:rPr lang="fr-CH" dirty="0"/>
              <a:t>, Zeit, </a:t>
            </a:r>
            <a:r>
              <a:rPr lang="fr-CH" dirty="0" err="1"/>
              <a:t>Raum</a:t>
            </a:r>
            <a:r>
              <a:rPr lang="fr-CH" dirty="0"/>
              <a:t>)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dirty="0" err="1"/>
              <a:t>wird</a:t>
            </a:r>
            <a:r>
              <a:rPr lang="fr-CH" dirty="0"/>
              <a:t> ca. </a:t>
            </a:r>
            <a:r>
              <a:rPr lang="fr-CH" b="1" dirty="0"/>
              <a:t>Ende März 2025 </a:t>
            </a:r>
            <a:r>
              <a:rPr lang="fr-CH" dirty="0" err="1"/>
              <a:t>direkt</a:t>
            </a:r>
            <a:r>
              <a:rPr lang="fr-CH" dirty="0"/>
              <a:t> an die </a:t>
            </a:r>
            <a:r>
              <a:rPr lang="fr-CH" dirty="0" err="1"/>
              <a:t>Kandidat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ebenfalls</a:t>
            </a:r>
            <a:r>
              <a:rPr lang="fr-CH" dirty="0"/>
              <a:t> in den </a:t>
            </a:r>
            <a:r>
              <a:rPr lang="fr-CH" dirty="0" err="1"/>
              <a:t>Ausbildungsbetrieb</a:t>
            </a:r>
            <a:r>
              <a:rPr lang="fr-CH" dirty="0"/>
              <a:t> </a:t>
            </a:r>
            <a:r>
              <a:rPr lang="fr-CH" dirty="0" err="1"/>
              <a:t>geschickt</a:t>
            </a:r>
            <a:r>
              <a:rPr lang="fr-CH" dirty="0"/>
              <a:t>.</a:t>
            </a:r>
          </a:p>
          <a:p>
            <a:pPr marL="0" indent="0">
              <a:spcAft>
                <a:spcPts val="0"/>
              </a:spcAft>
              <a:buNone/>
            </a:pPr>
            <a:endParaRPr lang="fr-CH" dirty="0"/>
          </a:p>
          <a:p>
            <a:pPr marL="0" indent="0">
              <a:buNone/>
            </a:pPr>
            <a:r>
              <a:rPr lang="fr-CH" b="1" dirty="0" err="1"/>
              <a:t>Kandidaten</a:t>
            </a:r>
            <a:r>
              <a:rPr lang="fr-CH" b="1" dirty="0"/>
              <a:t> </a:t>
            </a:r>
            <a:r>
              <a:rPr lang="fr-CH" b="1" dirty="0" err="1"/>
              <a:t>nach</a:t>
            </a:r>
            <a:r>
              <a:rPr lang="fr-CH" b="1" dirty="0"/>
              <a:t> </a:t>
            </a:r>
            <a:r>
              <a:rPr lang="fr-CH" b="1" dirty="0" err="1"/>
              <a:t>Artikel</a:t>
            </a:r>
            <a:r>
              <a:rPr lang="fr-CH" b="1" dirty="0"/>
              <a:t> 32 </a:t>
            </a:r>
            <a:r>
              <a:rPr lang="fr-CH" dirty="0"/>
              <a:t>: </a:t>
            </a:r>
            <a:r>
              <a:rPr lang="fr-CH" dirty="0" err="1"/>
              <a:t>Aufgebot</a:t>
            </a:r>
            <a:r>
              <a:rPr lang="fr-CH" dirty="0"/>
              <a:t> </a:t>
            </a:r>
            <a:r>
              <a:rPr lang="fr-CH" dirty="0" err="1"/>
              <a:t>wird</a:t>
            </a:r>
            <a:r>
              <a:rPr lang="fr-CH" dirty="0"/>
              <a:t> </a:t>
            </a:r>
            <a:r>
              <a:rPr lang="fr-CH" b="1" u="sng" dirty="0" err="1"/>
              <a:t>nicht</a:t>
            </a:r>
            <a:r>
              <a:rPr lang="fr-CH" dirty="0"/>
              <a:t> in den </a:t>
            </a:r>
            <a:r>
              <a:rPr lang="fr-CH" dirty="0" err="1"/>
              <a:t>Betrieb</a:t>
            </a:r>
            <a:r>
              <a:rPr lang="fr-CH" dirty="0"/>
              <a:t> </a:t>
            </a:r>
            <a:r>
              <a:rPr lang="fr-CH" dirty="0" err="1"/>
              <a:t>geschickt</a:t>
            </a:r>
            <a:r>
              <a:rPr lang="fr-CH" dirty="0"/>
              <a:t>, </a:t>
            </a:r>
            <a:r>
              <a:rPr lang="fr-CH" dirty="0" err="1"/>
              <a:t>nur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Ihnen</a:t>
            </a:r>
            <a:r>
              <a:rPr lang="fr-CH" dirty="0"/>
              <a:t> </a:t>
            </a:r>
            <a:r>
              <a:rPr lang="fr-CH" dirty="0" err="1"/>
              <a:t>nach</a:t>
            </a:r>
            <a:r>
              <a:rPr lang="fr-CH" dirty="0"/>
              <a:t> Hause.</a:t>
            </a:r>
          </a:p>
        </p:txBody>
      </p:sp>
    </p:spTree>
    <p:extLst>
      <p:ext uri="{BB962C8B-B14F-4D97-AF65-F5344CB8AC3E}">
        <p14:creationId xmlns:p14="http://schemas.microsoft.com/office/powerpoint/2010/main" val="10426658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542044"/>
            <a:ext cx="8242300" cy="948978"/>
          </a:xfrm>
        </p:spPr>
        <p:txBody>
          <a:bodyPr/>
          <a:lstStyle/>
          <a:p>
            <a:pPr algn="ctr"/>
            <a:r>
              <a:rPr lang="fr-FR" dirty="0" err="1">
                <a:latin typeface="Lucida Sans" pitchFamily="34" charset="0"/>
              </a:rPr>
              <a:t>Mitteilung</a:t>
            </a:r>
            <a:r>
              <a:rPr lang="fr-FR" dirty="0">
                <a:latin typeface="Lucida Sans" pitchFamily="34" charset="0"/>
              </a:rPr>
              <a:t> der </a:t>
            </a:r>
            <a:r>
              <a:rPr lang="fr-FR" dirty="0" err="1">
                <a:latin typeface="Lucida Sans" pitchFamily="34" charset="0"/>
              </a:rPr>
              <a:t>Resultate</a:t>
            </a:r>
            <a:r>
              <a:rPr lang="fr-FR" dirty="0">
                <a:latin typeface="Lucida Sans" pitchFamily="34" charset="0"/>
              </a:rPr>
              <a:t> – </a:t>
            </a:r>
            <a:r>
              <a:rPr lang="fr-FR" dirty="0" err="1">
                <a:latin typeface="Lucida Sans" pitchFamily="34" charset="0"/>
              </a:rPr>
              <a:t>Aushändigung</a:t>
            </a:r>
            <a:r>
              <a:rPr lang="fr-FR" dirty="0">
                <a:latin typeface="Lucida Sans" pitchFamily="34" charset="0"/>
              </a:rPr>
              <a:t> des EFZ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700809"/>
            <a:ext cx="8242300" cy="5262979"/>
          </a:xfrm>
        </p:spPr>
        <p:txBody>
          <a:bodyPr/>
          <a:lstStyle/>
          <a:p>
            <a:pPr>
              <a:buFontTx/>
              <a:buChar char="•"/>
            </a:pPr>
            <a:r>
              <a:rPr lang="fr-CH" dirty="0"/>
              <a:t>Die </a:t>
            </a:r>
            <a:r>
              <a:rPr lang="fr-CH" dirty="0" err="1"/>
              <a:t>Noten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 </a:t>
            </a:r>
            <a:r>
              <a:rPr lang="fr-CH" dirty="0" err="1"/>
              <a:t>direkt</a:t>
            </a:r>
            <a:r>
              <a:rPr lang="fr-CH" dirty="0"/>
              <a:t> </a:t>
            </a:r>
            <a:r>
              <a:rPr lang="fr-CH" dirty="0" err="1"/>
              <a:t>nach</a:t>
            </a:r>
            <a:r>
              <a:rPr lang="fr-CH" dirty="0"/>
              <a:t> der </a:t>
            </a:r>
            <a:r>
              <a:rPr lang="fr-CH" dirty="0" err="1"/>
              <a:t>Überprüfung</a:t>
            </a:r>
            <a:r>
              <a:rPr lang="fr-CH" dirty="0"/>
              <a:t> per A-Post,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Amt</a:t>
            </a:r>
            <a:r>
              <a:rPr lang="fr-CH" dirty="0"/>
              <a:t> </a:t>
            </a:r>
            <a:r>
              <a:rPr lang="fr-CH" dirty="0" err="1"/>
              <a:t>für</a:t>
            </a:r>
            <a:r>
              <a:rPr lang="fr-CH" dirty="0"/>
              <a:t> </a:t>
            </a:r>
            <a:r>
              <a:rPr lang="fr-CH" dirty="0" err="1"/>
              <a:t>Berufsbildung</a:t>
            </a:r>
            <a:r>
              <a:rPr lang="fr-CH" dirty="0"/>
              <a:t> </a:t>
            </a:r>
            <a:r>
              <a:rPr lang="fr-CH" dirty="0" err="1"/>
              <a:t>versendet</a:t>
            </a:r>
            <a:r>
              <a:rPr lang="fr-CH" dirty="0"/>
              <a:t> (ca. 1. </a:t>
            </a:r>
            <a:r>
              <a:rPr lang="fr-CH" dirty="0" err="1"/>
              <a:t>Woche</a:t>
            </a:r>
            <a:r>
              <a:rPr lang="fr-CH" dirty="0"/>
              <a:t> Juli) : </a:t>
            </a:r>
          </a:p>
          <a:p>
            <a:pPr marL="0" indent="0">
              <a:buNone/>
            </a:pPr>
            <a:endParaRPr lang="fr-CH" sz="1400" dirty="0"/>
          </a:p>
          <a:p>
            <a:pPr>
              <a:buNone/>
            </a:pPr>
            <a:r>
              <a:rPr lang="fr-CH" dirty="0">
                <a:solidFill>
                  <a:srgbClr val="FF0000"/>
                </a:solidFill>
              </a:rPr>
              <a:t>				KEINE INFORMATION PER TELEFON !</a:t>
            </a:r>
          </a:p>
          <a:p>
            <a:pPr>
              <a:buNone/>
            </a:pPr>
            <a:endParaRPr lang="fr-CH" sz="1400" dirty="0">
              <a:solidFill>
                <a:srgbClr val="FF000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fr-CH" dirty="0" err="1"/>
              <a:t>Aushändigung</a:t>
            </a:r>
            <a:r>
              <a:rPr lang="fr-CH" dirty="0"/>
              <a:t> des EFZ </a:t>
            </a:r>
            <a:r>
              <a:rPr lang="fr-CH" dirty="0" err="1"/>
              <a:t>am</a:t>
            </a:r>
            <a:r>
              <a:rPr lang="fr-CH" dirty="0"/>
              <a:t> Freitag </a:t>
            </a:r>
            <a:r>
              <a:rPr lang="fr-CH" b="1" dirty="0"/>
              <a:t>11. Juli 2025 </a:t>
            </a:r>
            <a:r>
              <a:rPr lang="fr-CH" dirty="0"/>
              <a:t>(</a:t>
            </a:r>
            <a:r>
              <a:rPr lang="fr-CH" dirty="0" err="1"/>
              <a:t>Nachmittag</a:t>
            </a:r>
            <a:r>
              <a:rPr lang="fr-CH" dirty="0"/>
              <a:t>) </a:t>
            </a:r>
            <a:r>
              <a:rPr lang="fr-CH" dirty="0" err="1"/>
              <a:t>im</a:t>
            </a:r>
            <a:r>
              <a:rPr lang="fr-CH" dirty="0"/>
              <a:t> Forum Freiburg </a:t>
            </a:r>
            <a:r>
              <a:rPr lang="fr-CH" dirty="0" err="1"/>
              <a:t>für</a:t>
            </a:r>
            <a:r>
              <a:rPr lang="fr-CH" dirty="0"/>
              <a:t> </a:t>
            </a:r>
            <a:r>
              <a:rPr lang="fr-CH" dirty="0" err="1"/>
              <a:t>alle</a:t>
            </a:r>
            <a:r>
              <a:rPr lang="fr-CH" dirty="0"/>
              <a:t> </a:t>
            </a:r>
            <a:r>
              <a:rPr lang="fr-CH" dirty="0" err="1"/>
              <a:t>Lernenden</a:t>
            </a:r>
            <a:r>
              <a:rPr lang="fr-CH" dirty="0"/>
              <a:t> mit </a:t>
            </a:r>
            <a:r>
              <a:rPr lang="fr-CH" dirty="0" err="1"/>
              <a:t>einem</a:t>
            </a:r>
            <a:r>
              <a:rPr lang="fr-CH" dirty="0"/>
              <a:t> FR-</a:t>
            </a:r>
            <a:r>
              <a:rPr lang="fr-CH" dirty="0" err="1"/>
              <a:t>Lehrvertrag</a:t>
            </a:r>
            <a:r>
              <a:rPr lang="fr-CH" dirty="0"/>
              <a:t> (</a:t>
            </a:r>
            <a:r>
              <a:rPr lang="fr-CH" dirty="0" err="1"/>
              <a:t>unabhängig</a:t>
            </a:r>
            <a:r>
              <a:rPr lang="fr-CH" dirty="0"/>
              <a:t>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Schulort</a:t>
            </a:r>
            <a:r>
              <a:rPr lang="fr-CH" dirty="0"/>
              <a:t>) und </a:t>
            </a:r>
            <a:r>
              <a:rPr lang="fr-CH" dirty="0" err="1"/>
              <a:t>für</a:t>
            </a:r>
            <a:r>
              <a:rPr lang="fr-CH" dirty="0"/>
              <a:t> </a:t>
            </a:r>
            <a:r>
              <a:rPr lang="fr-CH" dirty="0" err="1"/>
              <a:t>Kandidaten</a:t>
            </a:r>
            <a:r>
              <a:rPr lang="fr-CH" dirty="0"/>
              <a:t>/</a:t>
            </a:r>
            <a:r>
              <a:rPr lang="fr-CH" dirty="0" err="1"/>
              <a:t>Kandidatinnen</a:t>
            </a:r>
            <a:r>
              <a:rPr lang="fr-CH" dirty="0"/>
              <a:t> Art. 32 mit </a:t>
            </a:r>
            <a:r>
              <a:rPr lang="fr-CH" dirty="0" err="1"/>
              <a:t>Wohnort</a:t>
            </a:r>
            <a:r>
              <a:rPr lang="fr-CH" dirty="0"/>
              <a:t> </a:t>
            </a:r>
            <a:r>
              <a:rPr lang="fr-CH" dirty="0" err="1"/>
              <a:t>im</a:t>
            </a:r>
            <a:r>
              <a:rPr lang="fr-CH" dirty="0"/>
              <a:t> </a:t>
            </a:r>
            <a:r>
              <a:rPr lang="fr-CH" dirty="0" err="1"/>
              <a:t>Kanton</a:t>
            </a:r>
            <a:r>
              <a:rPr lang="fr-CH" dirty="0"/>
              <a:t> FR</a:t>
            </a:r>
          </a:p>
          <a:p>
            <a:pPr>
              <a:buNone/>
            </a:pPr>
            <a:r>
              <a:rPr lang="fr-CH" dirty="0"/>
              <a:t>	</a:t>
            </a:r>
            <a:r>
              <a:rPr lang="fr-CH" dirty="0" err="1"/>
              <a:t>Bemerkung</a:t>
            </a:r>
            <a:r>
              <a:rPr lang="fr-CH" dirty="0"/>
              <a:t> : </a:t>
            </a:r>
            <a:r>
              <a:rPr lang="fr-CH" dirty="0" err="1"/>
              <a:t>auf</a:t>
            </a:r>
            <a:r>
              <a:rPr lang="fr-CH" dirty="0"/>
              <a:t> </a:t>
            </a:r>
            <a:r>
              <a:rPr lang="fr-CH" dirty="0" err="1"/>
              <a:t>schriftliche</a:t>
            </a:r>
            <a:r>
              <a:rPr lang="fr-CH" dirty="0"/>
              <a:t> </a:t>
            </a:r>
            <a:r>
              <a:rPr lang="fr-CH" dirty="0" err="1"/>
              <a:t>Anfrage</a:t>
            </a:r>
            <a:r>
              <a:rPr lang="fr-CH" dirty="0"/>
              <a:t> </a:t>
            </a:r>
            <a:r>
              <a:rPr lang="fr-CH" dirty="0" err="1"/>
              <a:t>können</a:t>
            </a:r>
            <a:r>
              <a:rPr lang="fr-CH" dirty="0"/>
              <a:t> die </a:t>
            </a:r>
            <a:r>
              <a:rPr lang="fr-CH" dirty="0" err="1"/>
              <a:t>Lernenden</a:t>
            </a:r>
            <a:r>
              <a:rPr lang="fr-CH" dirty="0"/>
              <a:t> mit </a:t>
            </a:r>
            <a:r>
              <a:rPr lang="fr-CH" dirty="0" err="1"/>
              <a:t>einem</a:t>
            </a:r>
            <a:r>
              <a:rPr lang="fr-CH" dirty="0"/>
              <a:t> LV </a:t>
            </a:r>
            <a:r>
              <a:rPr lang="fr-CH" dirty="0" err="1"/>
              <a:t>eines</a:t>
            </a:r>
            <a:r>
              <a:rPr lang="fr-CH" dirty="0"/>
              <a:t> </a:t>
            </a:r>
            <a:r>
              <a:rPr lang="fr-CH" dirty="0" err="1"/>
              <a:t>anderen</a:t>
            </a:r>
            <a:r>
              <a:rPr lang="fr-CH" dirty="0"/>
              <a:t> </a:t>
            </a:r>
            <a:r>
              <a:rPr lang="fr-CH" dirty="0" err="1"/>
              <a:t>Kantons</a:t>
            </a:r>
            <a:r>
              <a:rPr lang="fr-CH" dirty="0"/>
              <a:t>, </a:t>
            </a:r>
            <a:r>
              <a:rPr lang="fr-CH" dirty="0" err="1"/>
              <a:t>das</a:t>
            </a:r>
            <a:r>
              <a:rPr lang="fr-CH" dirty="0"/>
              <a:t> EFZ </a:t>
            </a:r>
            <a:r>
              <a:rPr lang="fr-CH" dirty="0" err="1"/>
              <a:t>bei</a:t>
            </a:r>
            <a:r>
              <a:rPr lang="fr-CH" dirty="0"/>
              <a:t> uns in </a:t>
            </a:r>
            <a:r>
              <a:rPr lang="fr-CH" dirty="0" err="1"/>
              <a:t>Empfang</a:t>
            </a:r>
            <a:r>
              <a:rPr lang="fr-CH" dirty="0"/>
              <a:t> </a:t>
            </a:r>
            <a:r>
              <a:rPr lang="fr-CH" dirty="0" err="1"/>
              <a:t>nehmen</a:t>
            </a:r>
            <a:r>
              <a:rPr lang="fr-CH" dirty="0"/>
              <a:t>.</a:t>
            </a:r>
          </a:p>
          <a:p>
            <a:pPr>
              <a:buNone/>
            </a:pPr>
            <a:r>
              <a:rPr lang="fr-CH" dirty="0"/>
              <a:t>	</a:t>
            </a:r>
          </a:p>
          <a:p>
            <a:pPr>
              <a:buFont typeface="Arial" pitchFamily="34" charset="0"/>
              <a:buChar char="•"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100648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542044"/>
            <a:ext cx="8242300" cy="443391"/>
          </a:xfrm>
        </p:spPr>
        <p:txBody>
          <a:bodyPr/>
          <a:lstStyle/>
          <a:p>
            <a:pPr algn="ctr"/>
            <a:r>
              <a:rPr lang="fr-FR" sz="3000" dirty="0">
                <a:latin typeface="Lucida Sans" pitchFamily="34" charset="0"/>
              </a:rPr>
              <a:t>Im </a:t>
            </a:r>
            <a:r>
              <a:rPr lang="fr-FR" sz="3000" dirty="0" err="1">
                <a:latin typeface="Lucida Sans" pitchFamily="34" charset="0"/>
              </a:rPr>
              <a:t>Falle</a:t>
            </a:r>
            <a:r>
              <a:rPr lang="fr-FR" sz="3000" dirty="0">
                <a:latin typeface="Lucida Sans" pitchFamily="34" charset="0"/>
              </a:rPr>
              <a:t> </a:t>
            </a:r>
            <a:r>
              <a:rPr lang="fr-FR" sz="3000" dirty="0" err="1">
                <a:latin typeface="Lucida Sans" pitchFamily="34" charset="0"/>
              </a:rPr>
              <a:t>eines</a:t>
            </a:r>
            <a:r>
              <a:rPr lang="fr-FR" sz="3000" dirty="0">
                <a:latin typeface="Lucida Sans" pitchFamily="34" charset="0"/>
              </a:rPr>
              <a:t> </a:t>
            </a:r>
            <a:r>
              <a:rPr lang="fr-FR" sz="3000" dirty="0" err="1">
                <a:latin typeface="Lucida Sans" pitchFamily="34" charset="0"/>
              </a:rPr>
              <a:t>Misserfolgs</a:t>
            </a:r>
            <a:r>
              <a:rPr lang="fr-FR" sz="3000" dirty="0">
                <a:latin typeface="Lucida Sans" pitchFamily="34" charset="0"/>
              </a:rPr>
              <a:t>…</a:t>
            </a:r>
            <a:endParaRPr lang="fr-FR" sz="30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323528" y="1052737"/>
            <a:ext cx="8568952" cy="5466112"/>
          </a:xfrm>
        </p:spPr>
        <p:txBody>
          <a:bodyPr/>
          <a:lstStyle/>
          <a:p>
            <a:pPr lvl="2">
              <a:buFontTx/>
              <a:buChar char="•"/>
            </a:pPr>
            <a:r>
              <a:rPr lang="fr-FR" dirty="0">
                <a:hlinkClick r:id="rId4"/>
              </a:rPr>
              <a:t>www.fr.ch/bba</a:t>
            </a:r>
            <a:endParaRPr lang="fr-FR" dirty="0"/>
          </a:p>
          <a:p>
            <a:pPr lvl="2">
              <a:buFontTx/>
              <a:buChar char="•"/>
            </a:pPr>
            <a:r>
              <a:rPr lang="fr-FR" dirty="0" err="1"/>
              <a:t>Rubrik</a:t>
            </a:r>
            <a:r>
              <a:rPr lang="fr-FR" dirty="0"/>
              <a:t> « </a:t>
            </a:r>
            <a:r>
              <a:rPr lang="fr-FR" dirty="0" err="1"/>
              <a:t>Während</a:t>
            </a:r>
            <a:r>
              <a:rPr lang="fr-FR" dirty="0"/>
              <a:t> der </a:t>
            </a:r>
            <a:r>
              <a:rPr lang="fr-FR" dirty="0" err="1"/>
              <a:t>Lehre</a:t>
            </a:r>
            <a:r>
              <a:rPr lang="fr-FR" dirty="0"/>
              <a:t> »</a:t>
            </a:r>
          </a:p>
          <a:p>
            <a:pPr lvl="4">
              <a:lnSpc>
                <a:spcPct val="80000"/>
              </a:lnSpc>
              <a:buFontTx/>
              <a:buChar char="•"/>
            </a:pPr>
            <a:r>
              <a:rPr lang="fr-FR" dirty="0"/>
              <a:t>« </a:t>
            </a:r>
            <a:r>
              <a:rPr lang="fr-FR" dirty="0" err="1"/>
              <a:t>Qualifikationsverfahren</a:t>
            </a:r>
            <a:r>
              <a:rPr lang="fr-FR" dirty="0"/>
              <a:t> – </a:t>
            </a:r>
            <a:r>
              <a:rPr lang="fr-FR" dirty="0" err="1"/>
              <a:t>Prüfungen</a:t>
            </a:r>
            <a:r>
              <a:rPr lang="fr-FR" dirty="0"/>
              <a:t> » :</a:t>
            </a:r>
          </a:p>
          <a:p>
            <a:pPr lvl="4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de-DE" dirty="0"/>
              <a:t>„Information bei Misserfolg“</a:t>
            </a:r>
            <a:endParaRPr lang="fr-FR" dirty="0"/>
          </a:p>
          <a:p>
            <a:pPr lvl="4">
              <a:lnSpc>
                <a:spcPct val="80000"/>
              </a:lnSpc>
              <a:buNone/>
            </a:pPr>
            <a:endParaRPr lang="fr-CH" sz="800" dirty="0"/>
          </a:p>
          <a:p>
            <a:pPr marL="648000" lvl="4" indent="-457200">
              <a:lnSpc>
                <a:spcPct val="80000"/>
              </a:lnSpc>
            </a:pPr>
            <a:r>
              <a:rPr lang="fr-CH" dirty="0" err="1"/>
              <a:t>Möglichkeit</a:t>
            </a:r>
            <a:r>
              <a:rPr lang="fr-CH" dirty="0"/>
              <a:t> die </a:t>
            </a:r>
            <a:r>
              <a:rPr lang="fr-CH" dirty="0" err="1"/>
              <a:t>Prüfungsaufgaben</a:t>
            </a:r>
            <a:r>
              <a:rPr lang="fr-CH" dirty="0"/>
              <a:t> </a:t>
            </a:r>
            <a:r>
              <a:rPr lang="fr-CH" dirty="0" err="1"/>
              <a:t>anzusehen</a:t>
            </a:r>
            <a:r>
              <a:rPr lang="fr-CH" dirty="0"/>
              <a:t> –  </a:t>
            </a:r>
            <a:r>
              <a:rPr lang="fr-CH" dirty="0" err="1"/>
              <a:t>Termin</a:t>
            </a:r>
            <a:r>
              <a:rPr lang="fr-CH" dirty="0"/>
              <a:t> mit der Chef-</a:t>
            </a:r>
            <a:r>
              <a:rPr lang="fr-CH" dirty="0" err="1"/>
              <a:t>Expertin</a:t>
            </a:r>
            <a:r>
              <a:rPr lang="fr-CH" dirty="0"/>
              <a:t> </a:t>
            </a:r>
            <a:r>
              <a:rPr lang="fr-CH" dirty="0" err="1"/>
              <a:t>vereinbaren</a:t>
            </a:r>
            <a:r>
              <a:rPr lang="fr-CH" dirty="0"/>
              <a:t>.</a:t>
            </a:r>
          </a:p>
          <a:p>
            <a:pPr marL="648000" lvl="4" indent="-457200">
              <a:lnSpc>
                <a:spcPct val="80000"/>
              </a:lnSpc>
            </a:pPr>
            <a:r>
              <a:rPr lang="fr-CH" dirty="0"/>
              <a:t>Bei </a:t>
            </a:r>
            <a:r>
              <a:rPr lang="fr-CH" dirty="0" err="1"/>
              <a:t>einer</a:t>
            </a:r>
            <a:r>
              <a:rPr lang="fr-CH" dirty="0"/>
              <a:t> </a:t>
            </a:r>
            <a:r>
              <a:rPr lang="fr-CH" dirty="0" err="1"/>
              <a:t>Reklamation</a:t>
            </a:r>
            <a:r>
              <a:rPr lang="fr-CH" dirty="0"/>
              <a:t> </a:t>
            </a:r>
            <a:r>
              <a:rPr lang="fr-CH" dirty="0" err="1"/>
              <a:t>ist</a:t>
            </a:r>
            <a:r>
              <a:rPr lang="fr-CH" dirty="0"/>
              <a:t> </a:t>
            </a:r>
            <a:r>
              <a:rPr lang="fr-CH" dirty="0" err="1"/>
              <a:t>diese</a:t>
            </a:r>
            <a:r>
              <a:rPr lang="fr-CH" dirty="0"/>
              <a:t>, </a:t>
            </a:r>
            <a:r>
              <a:rPr lang="fr-CH" dirty="0" err="1"/>
              <a:t>innerhalb</a:t>
            </a:r>
            <a:r>
              <a:rPr lang="fr-CH" dirty="0"/>
              <a:t> </a:t>
            </a:r>
            <a:r>
              <a:rPr lang="fr-CH" dirty="0" err="1"/>
              <a:t>von</a:t>
            </a:r>
            <a:r>
              <a:rPr lang="fr-CH" dirty="0"/>
              <a:t> 10 </a:t>
            </a:r>
            <a:r>
              <a:rPr lang="fr-CH" dirty="0" err="1"/>
              <a:t>Tagen</a:t>
            </a:r>
            <a:r>
              <a:rPr lang="fr-CH" dirty="0"/>
              <a:t> </a:t>
            </a:r>
            <a:r>
              <a:rPr lang="fr-CH" dirty="0" err="1"/>
              <a:t>nach</a:t>
            </a:r>
            <a:r>
              <a:rPr lang="fr-CH" dirty="0"/>
              <a:t> </a:t>
            </a:r>
            <a:r>
              <a:rPr lang="fr-CH" dirty="0" err="1"/>
              <a:t>Erhalt</a:t>
            </a:r>
            <a:r>
              <a:rPr lang="fr-CH" dirty="0"/>
              <a:t> der </a:t>
            </a:r>
            <a:r>
              <a:rPr lang="fr-CH" dirty="0" err="1"/>
              <a:t>Noten</a:t>
            </a:r>
            <a:r>
              <a:rPr lang="fr-CH" dirty="0"/>
              <a:t>, </a:t>
            </a:r>
            <a:r>
              <a:rPr lang="fr-CH" dirty="0" err="1"/>
              <a:t>schriftlich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begründet</a:t>
            </a:r>
            <a:r>
              <a:rPr lang="fr-CH" dirty="0"/>
              <a:t> </a:t>
            </a:r>
            <a:r>
              <a:rPr lang="fr-CH" dirty="0" err="1"/>
              <a:t>beim</a:t>
            </a:r>
            <a:r>
              <a:rPr lang="fr-CH" dirty="0"/>
              <a:t> </a:t>
            </a:r>
            <a:r>
              <a:rPr lang="fr-CH" dirty="0" err="1"/>
              <a:t>Amt</a:t>
            </a:r>
            <a:r>
              <a:rPr lang="fr-CH" dirty="0"/>
              <a:t> </a:t>
            </a:r>
            <a:r>
              <a:rPr lang="fr-CH" dirty="0" err="1"/>
              <a:t>für</a:t>
            </a:r>
            <a:r>
              <a:rPr lang="fr-CH" dirty="0"/>
              <a:t> </a:t>
            </a:r>
            <a:r>
              <a:rPr lang="fr-CH" dirty="0" err="1"/>
              <a:t>Berufsbildung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beanstanden</a:t>
            </a:r>
            <a:r>
              <a:rPr lang="fr-CH" dirty="0"/>
              <a:t>.</a:t>
            </a:r>
          </a:p>
          <a:p>
            <a:pPr marL="648000" lvl="4" indent="-457200">
              <a:lnSpc>
                <a:spcPct val="80000"/>
              </a:lnSpc>
            </a:pPr>
            <a:r>
              <a:rPr lang="fr-CH" dirty="0" err="1"/>
              <a:t>Möglichkeit</a:t>
            </a:r>
            <a:r>
              <a:rPr lang="fr-CH" dirty="0"/>
              <a:t> </a:t>
            </a:r>
            <a:r>
              <a:rPr lang="fr-CH" dirty="0" err="1"/>
              <a:t>sich</a:t>
            </a:r>
            <a:r>
              <a:rPr lang="fr-CH" dirty="0"/>
              <a:t> </a:t>
            </a:r>
            <a:r>
              <a:rPr lang="fr-CH" dirty="0" err="1"/>
              <a:t>für</a:t>
            </a:r>
            <a:r>
              <a:rPr lang="fr-CH" dirty="0"/>
              <a:t> </a:t>
            </a:r>
            <a:r>
              <a:rPr lang="fr-CH" dirty="0" err="1"/>
              <a:t>das</a:t>
            </a:r>
            <a:r>
              <a:rPr lang="fr-CH" dirty="0"/>
              <a:t> </a:t>
            </a:r>
            <a:r>
              <a:rPr lang="fr-CH" dirty="0" err="1"/>
              <a:t>nächste</a:t>
            </a:r>
            <a:r>
              <a:rPr lang="fr-CH" dirty="0"/>
              <a:t> </a:t>
            </a:r>
            <a:r>
              <a:rPr lang="fr-CH" dirty="0" err="1"/>
              <a:t>Jahr</a:t>
            </a:r>
            <a:r>
              <a:rPr lang="fr-CH" dirty="0"/>
              <a:t> </a:t>
            </a:r>
            <a:r>
              <a:rPr lang="fr-CH" dirty="0" err="1"/>
              <a:t>neu</a:t>
            </a:r>
            <a:r>
              <a:rPr lang="fr-CH" dirty="0"/>
              <a:t> </a:t>
            </a:r>
            <a:r>
              <a:rPr lang="fr-CH" dirty="0" err="1"/>
              <a:t>anzumelden</a:t>
            </a:r>
            <a:r>
              <a:rPr lang="fr-CH" dirty="0"/>
              <a:t>.                       (2 </a:t>
            </a:r>
            <a:r>
              <a:rPr lang="fr-CH" dirty="0" err="1"/>
              <a:t>Wiederholungen</a:t>
            </a:r>
            <a:r>
              <a:rPr lang="fr-CH" dirty="0"/>
              <a:t> maximum)</a:t>
            </a:r>
          </a:p>
          <a:p>
            <a:pPr marL="900000" lvl="5" indent="-457200">
              <a:lnSpc>
                <a:spcPct val="80000"/>
              </a:lnSpc>
              <a:spcAft>
                <a:spcPts val="200"/>
              </a:spcAft>
            </a:pP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Vertragsverlängerung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(mit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BerufsbildnerI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abklär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900000" lvl="5" indent="-457200">
              <a:lnSpc>
                <a:spcPct val="80000"/>
              </a:lnSpc>
              <a:spcAft>
                <a:spcPts val="200"/>
              </a:spcAft>
            </a:pP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Ein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neu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Lehrvertrag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einem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ander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Betrieb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find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900000" lvl="5" indent="-457200">
              <a:lnSpc>
                <a:spcPct val="80000"/>
              </a:lnSpc>
              <a:spcAft>
                <a:spcPts val="200"/>
              </a:spcAft>
            </a:pP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Ohne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Vertrag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Achtung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Kursgeld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Prüfungskost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zu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Ihr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Last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) –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Schulbesuch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nicht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obligatorisch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ist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aber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sehr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zu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empfehlen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falls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ungenügend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im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Fach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Berufskenntnisse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oder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1800" dirty="0" err="1">
                <a:latin typeface="Arial" panose="020B0604020202020204" pitchFamily="34" charset="0"/>
                <a:cs typeface="Arial" panose="020B0604020202020204" pitchFamily="34" charset="0"/>
              </a:rPr>
              <a:t>Allgemeinbildung</a:t>
            </a:r>
            <a:r>
              <a:rPr lang="fr-CH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4">
              <a:lnSpc>
                <a:spcPct val="80000"/>
              </a:lnSpc>
              <a:buNone/>
            </a:pPr>
            <a:endParaRPr lang="fr-CH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4">
              <a:lnSpc>
                <a:spcPct val="80000"/>
              </a:lnSpc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43233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D9997E7-9D23-8794-2A92-5CB7400A2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CH" dirty="0">
                <a:latin typeface="Lucida Sans" pitchFamily="34" charset="0"/>
              </a:rPr>
              <a:t>EFZ FABE</a:t>
            </a:r>
            <a:endParaRPr lang="fr-CH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F4380038-66FE-D899-D610-BC8EFF04E6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52736"/>
            <a:ext cx="8242300" cy="5539978"/>
          </a:xfrm>
        </p:spPr>
        <p:txBody>
          <a:bodyPr/>
          <a:lstStyle/>
          <a:p>
            <a:pPr marL="0" indent="0" algn="ctr">
              <a:spcAft>
                <a:spcPts val="0"/>
              </a:spcAft>
              <a:buNone/>
            </a:pPr>
            <a:r>
              <a:rPr lang="fr-CH" dirty="0">
                <a:solidFill>
                  <a:srgbClr val="FF0000"/>
                </a:solidFill>
              </a:rPr>
              <a:t>Bei </a:t>
            </a:r>
            <a:r>
              <a:rPr lang="fr-CH" dirty="0" err="1">
                <a:solidFill>
                  <a:srgbClr val="FF0000"/>
                </a:solidFill>
              </a:rPr>
              <a:t>Fragen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melden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Sie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sich</a:t>
            </a:r>
            <a:r>
              <a:rPr lang="fr-CH" dirty="0">
                <a:solidFill>
                  <a:srgbClr val="FF0000"/>
                </a:solidFill>
              </a:rPr>
              <a:t> </a:t>
            </a:r>
            <a:r>
              <a:rPr lang="fr-CH" dirty="0" err="1">
                <a:solidFill>
                  <a:srgbClr val="FF0000"/>
                </a:solidFill>
              </a:rPr>
              <a:t>bei</a:t>
            </a:r>
            <a:r>
              <a:rPr lang="fr-CH" dirty="0">
                <a:solidFill>
                  <a:srgbClr val="FF0000"/>
                </a:solidFill>
              </a:rPr>
              <a:t> :</a:t>
            </a:r>
          </a:p>
          <a:p>
            <a:pPr marL="0" indent="0" algn="ctr">
              <a:spcAft>
                <a:spcPts val="0"/>
              </a:spcAft>
              <a:buNone/>
            </a:pPr>
            <a:endParaRPr lang="fr-CH" dirty="0">
              <a:solidFill>
                <a:srgbClr val="FF0000"/>
              </a:solidFill>
            </a:endParaRPr>
          </a:p>
          <a:p>
            <a:pPr marL="0" indent="0">
              <a:spcAft>
                <a:spcPts val="0"/>
              </a:spcAft>
              <a:buNone/>
            </a:pPr>
            <a:r>
              <a:rPr lang="fr-CH" b="1" dirty="0" err="1"/>
              <a:t>Nützliche</a:t>
            </a:r>
            <a:r>
              <a:rPr lang="fr-CH" b="1" dirty="0"/>
              <a:t> Adresse :</a:t>
            </a:r>
          </a:p>
          <a:p>
            <a:pPr marL="0" indent="0">
              <a:spcAft>
                <a:spcPts val="0"/>
              </a:spcAft>
              <a:buNone/>
            </a:pPr>
            <a:endParaRPr lang="fr-CH" b="1" dirty="0"/>
          </a:p>
          <a:p>
            <a:pPr marL="0" indent="0">
              <a:buNone/>
            </a:pPr>
            <a:r>
              <a:rPr lang="fr-CH" b="1" dirty="0" err="1"/>
              <a:t>Chefexpertin</a:t>
            </a:r>
            <a:r>
              <a:rPr lang="fr-CH" b="1" dirty="0"/>
              <a:t> :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CH" dirty="0" err="1"/>
              <a:t>OrTra</a:t>
            </a:r>
            <a:r>
              <a:rPr lang="fr-CH" dirty="0"/>
              <a:t> </a:t>
            </a:r>
            <a:r>
              <a:rPr lang="fr-CH" dirty="0" err="1"/>
              <a:t>Gesundheit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Soziales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Susan Bielmann </a:t>
            </a:r>
            <a:r>
              <a:rPr lang="fr-CH" dirty="0" err="1"/>
              <a:t>Chefexpertin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Zone industrielle Le Vivier 15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1690 </a:t>
            </a:r>
            <a:r>
              <a:rPr lang="fr-CH" dirty="0" err="1"/>
              <a:t>Villaz</a:t>
            </a:r>
            <a:r>
              <a:rPr lang="fr-CH" dirty="0"/>
              <a:t>-St-Pierre				079 / 286 39 18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Mail : </a:t>
            </a:r>
            <a:r>
              <a:rPr lang="fr-CH" dirty="0">
                <a:hlinkClick r:id="rId2"/>
              </a:rPr>
              <a:t>s.bielmann@ortrafr.ch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endParaRPr lang="fr-CH" dirty="0"/>
          </a:p>
          <a:p>
            <a:pPr marL="0" indent="0" algn="ctr">
              <a:spcAft>
                <a:spcPts val="600"/>
              </a:spcAft>
              <a:buNone/>
            </a:pPr>
            <a:r>
              <a:rPr lang="fr-CH" dirty="0" err="1"/>
              <a:t>Homepage</a:t>
            </a:r>
            <a:r>
              <a:rPr lang="fr-CH" dirty="0"/>
              <a:t> um </a:t>
            </a:r>
            <a:r>
              <a:rPr lang="fr-CH" dirty="0" err="1"/>
              <a:t>alle</a:t>
            </a:r>
            <a:r>
              <a:rPr lang="fr-CH" dirty="0"/>
              <a:t> </a:t>
            </a:r>
            <a:r>
              <a:rPr lang="fr-CH" dirty="0" err="1"/>
              <a:t>Prüfungsdokumente</a:t>
            </a:r>
            <a:r>
              <a:rPr lang="fr-CH" dirty="0"/>
              <a:t> QV-2025 </a:t>
            </a:r>
            <a:r>
              <a:rPr lang="fr-CH" dirty="0" err="1"/>
              <a:t>herunterzuladen</a:t>
            </a:r>
            <a:r>
              <a:rPr lang="fr-CH" dirty="0"/>
              <a:t> :</a:t>
            </a:r>
          </a:p>
          <a:p>
            <a:pPr marL="0" indent="0" algn="ctr">
              <a:spcAft>
                <a:spcPts val="600"/>
              </a:spcAft>
              <a:buNone/>
            </a:pPr>
            <a:r>
              <a:rPr lang="fr-CH" dirty="0">
                <a:highlight>
                  <a:srgbClr val="FFFF00"/>
                </a:highlight>
                <a:hlinkClick r:id="rId3"/>
              </a:rPr>
              <a:t>www.ortrafr.ch </a:t>
            </a:r>
            <a:endParaRPr lang="fr-CH" dirty="0">
              <a:highlight>
                <a:srgbClr val="FFFF00"/>
              </a:highlight>
            </a:endParaRPr>
          </a:p>
          <a:p>
            <a:pPr marL="0" indent="0">
              <a:buNone/>
            </a:pPr>
            <a:endParaRPr lang="fr-CH" dirty="0"/>
          </a:p>
          <a:p>
            <a:pPr marL="0" indent="0">
              <a:buNone/>
            </a:pP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4495066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1280CB-86CF-0BB8-6C5E-69E0E99179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423467"/>
          </a:xfrm>
        </p:spPr>
        <p:txBody>
          <a:bodyPr/>
          <a:lstStyle/>
          <a:p>
            <a:r>
              <a:rPr lang="fr-CH" dirty="0" err="1"/>
              <a:t>Dokumente</a:t>
            </a:r>
            <a:r>
              <a:rPr lang="fr-CH" dirty="0"/>
              <a:t> </a:t>
            </a:r>
            <a:r>
              <a:rPr lang="fr-CH" dirty="0" err="1"/>
              <a:t>zum</a:t>
            </a:r>
            <a:r>
              <a:rPr lang="fr-CH" dirty="0"/>
              <a:t> QV-2025 </a:t>
            </a:r>
            <a:r>
              <a:rPr lang="fr-CH" dirty="0" err="1"/>
              <a:t>FaBe</a:t>
            </a:r>
            <a:r>
              <a:rPr lang="fr-CH" dirty="0"/>
              <a:t> </a:t>
            </a:r>
            <a:br>
              <a:rPr lang="fr-CH" dirty="0"/>
            </a:b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finden</a:t>
            </a:r>
            <a:r>
              <a:rPr lang="fr-CH" dirty="0"/>
              <a:t> </a:t>
            </a:r>
            <a:r>
              <a:rPr lang="fr-CH" dirty="0" err="1"/>
              <a:t>unter</a:t>
            </a:r>
            <a:r>
              <a:rPr lang="fr-CH" dirty="0"/>
              <a:t> </a:t>
            </a:r>
            <a:r>
              <a:rPr lang="fr-CH" dirty="0">
                <a:hlinkClick r:id="rId2"/>
              </a:rPr>
              <a:t>www.ortrafr.ch</a:t>
            </a:r>
            <a:r>
              <a:rPr lang="fr-CH" dirty="0"/>
              <a:t> </a:t>
            </a:r>
            <a:br>
              <a:rPr lang="fr-CH" dirty="0"/>
            </a:br>
            <a:endParaRPr lang="fr-CH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DD69A5-D278-7E45-1B1F-16F6FE0165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658" y="1484784"/>
            <a:ext cx="8242300" cy="4431983"/>
          </a:xfrm>
        </p:spPr>
        <p:txBody>
          <a:bodyPr/>
          <a:lstStyle/>
          <a:p>
            <a:pPr marL="0" indent="0">
              <a:spcAft>
                <a:spcPts val="0"/>
              </a:spcAft>
              <a:buNone/>
            </a:pPr>
            <a:r>
              <a:rPr lang="fr-CH" dirty="0"/>
              <a:t>- </a:t>
            </a:r>
            <a:r>
              <a:rPr lang="fr-CH" dirty="0" err="1"/>
              <a:t>Power-Point</a:t>
            </a:r>
            <a:r>
              <a:rPr lang="fr-CH" dirty="0"/>
              <a:t> der </a:t>
            </a:r>
            <a:r>
              <a:rPr lang="fr-CH" dirty="0" err="1"/>
              <a:t>Informationssitzung</a:t>
            </a:r>
            <a:r>
              <a:rPr lang="fr-CH" dirty="0"/>
              <a:t> </a:t>
            </a:r>
            <a:r>
              <a:rPr lang="fr-CH" dirty="0" err="1"/>
              <a:t>FaBe</a:t>
            </a:r>
            <a:r>
              <a:rPr lang="fr-CH" dirty="0"/>
              <a:t> QV-2025</a:t>
            </a:r>
          </a:p>
          <a:p>
            <a:pPr marL="0" indent="0">
              <a:spcAft>
                <a:spcPts val="0"/>
              </a:spcAft>
              <a:buNone/>
            </a:pPr>
            <a:endParaRPr lang="fr-CH" sz="800" dirty="0"/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- </a:t>
            </a:r>
            <a:r>
              <a:rPr lang="fr-CH" dirty="0" err="1"/>
              <a:t>Leitfaden</a:t>
            </a:r>
            <a:r>
              <a:rPr lang="fr-CH" dirty="0"/>
              <a:t> </a:t>
            </a:r>
            <a:r>
              <a:rPr lang="fr-CH" dirty="0" err="1"/>
              <a:t>zur</a:t>
            </a:r>
            <a:r>
              <a:rPr lang="fr-CH" dirty="0"/>
              <a:t> </a:t>
            </a:r>
            <a:r>
              <a:rPr lang="fr-CH" dirty="0" err="1"/>
              <a:t>Vorbereitung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Durchführung</a:t>
            </a:r>
            <a:r>
              <a:rPr lang="fr-CH" dirty="0"/>
              <a:t> der VPA mit Agenda von  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  der </a:t>
            </a:r>
            <a:r>
              <a:rPr lang="fr-CH" dirty="0" err="1"/>
              <a:t>Freiburger</a:t>
            </a:r>
            <a:r>
              <a:rPr lang="fr-CH" dirty="0"/>
              <a:t> Organisation</a:t>
            </a:r>
          </a:p>
          <a:p>
            <a:pPr marL="0" indent="0">
              <a:spcAft>
                <a:spcPts val="0"/>
              </a:spcAft>
              <a:buNone/>
            </a:pPr>
            <a:endParaRPr lang="fr-CH" sz="800" dirty="0"/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- Dossier mit den </a:t>
            </a:r>
            <a:r>
              <a:rPr lang="fr-CH" dirty="0" err="1"/>
              <a:t>Praxisaufgaben</a:t>
            </a:r>
            <a:r>
              <a:rPr lang="fr-CH" dirty="0"/>
              <a:t> </a:t>
            </a:r>
            <a:r>
              <a:rPr lang="fr-CH" dirty="0" err="1"/>
              <a:t>und</a:t>
            </a:r>
            <a:r>
              <a:rPr lang="fr-CH" dirty="0"/>
              <a:t> </a:t>
            </a:r>
            <a:r>
              <a:rPr lang="fr-CH" dirty="0" err="1"/>
              <a:t>Informationen</a:t>
            </a:r>
            <a:r>
              <a:rPr lang="fr-CH" dirty="0"/>
              <a:t> </a:t>
            </a:r>
            <a:r>
              <a:rPr lang="fr-CH" dirty="0" err="1"/>
              <a:t>zum</a:t>
            </a:r>
            <a:r>
              <a:rPr lang="fr-CH" dirty="0"/>
              <a:t> </a:t>
            </a:r>
            <a:r>
              <a:rPr lang="fr-CH" dirty="0" err="1"/>
              <a:t>Fachgespräch</a:t>
            </a:r>
            <a:r>
              <a:rPr lang="fr-CH" dirty="0"/>
              <a:t>   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  </a:t>
            </a:r>
            <a:r>
              <a:rPr lang="fr-CH" dirty="0" err="1"/>
              <a:t>für</a:t>
            </a:r>
            <a:r>
              <a:rPr lang="fr-CH" dirty="0"/>
              <a:t> die </a:t>
            </a:r>
            <a:r>
              <a:rPr lang="fr-CH" dirty="0" err="1"/>
              <a:t>Kandidierenden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endParaRPr lang="fr-CH" sz="800" dirty="0"/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- Dossier / Programme VPA pro </a:t>
            </a:r>
            <a:r>
              <a:rPr lang="fr-CH" dirty="0" err="1"/>
              <a:t>Fachbereich</a:t>
            </a:r>
            <a:r>
              <a:rPr lang="fr-CH" dirty="0"/>
              <a:t> mit Wahl der </a:t>
            </a:r>
            <a:r>
              <a:rPr lang="fr-CH" dirty="0" err="1"/>
              <a:t>Leistungsziele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endParaRPr lang="fr-CH" sz="800" dirty="0"/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- </a:t>
            </a:r>
            <a:r>
              <a:rPr lang="fr-CH" dirty="0" err="1"/>
              <a:t>Leitfaden</a:t>
            </a:r>
            <a:r>
              <a:rPr lang="fr-CH" dirty="0"/>
              <a:t> </a:t>
            </a:r>
            <a:r>
              <a:rPr lang="fr-CH" dirty="0" err="1"/>
              <a:t>zum</a:t>
            </a:r>
            <a:r>
              <a:rPr lang="fr-CH" dirty="0"/>
              <a:t> </a:t>
            </a:r>
            <a:r>
              <a:rPr lang="fr-CH" dirty="0" err="1"/>
              <a:t>Fachgespräch</a:t>
            </a:r>
            <a:r>
              <a:rPr lang="fr-CH" dirty="0"/>
              <a:t> </a:t>
            </a:r>
            <a:r>
              <a:rPr lang="fr-CH" dirty="0" err="1"/>
              <a:t>für</a:t>
            </a:r>
            <a:r>
              <a:rPr lang="fr-CH" dirty="0"/>
              <a:t> Expert*</a:t>
            </a:r>
            <a:r>
              <a:rPr lang="fr-CH" dirty="0" err="1"/>
              <a:t>innen</a:t>
            </a:r>
            <a:r>
              <a:rPr lang="fr-CH" dirty="0"/>
              <a:t> (</a:t>
            </a:r>
            <a:r>
              <a:rPr lang="fr-CH" dirty="0" err="1"/>
              <a:t>Fragenkatalog</a:t>
            </a:r>
            <a:r>
              <a:rPr lang="fr-CH" dirty="0"/>
              <a:t>)</a:t>
            </a:r>
          </a:p>
          <a:p>
            <a:pPr marL="0" indent="0">
              <a:spcAft>
                <a:spcPts val="600"/>
              </a:spcAft>
              <a:buNone/>
            </a:pPr>
            <a:endParaRPr lang="fr-CH" sz="800" dirty="0"/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- </a:t>
            </a:r>
            <a:r>
              <a:rPr lang="fr-CH" dirty="0" err="1"/>
              <a:t>Bewertungsraster</a:t>
            </a:r>
            <a:r>
              <a:rPr lang="fr-CH" dirty="0"/>
              <a:t> VPA pro </a:t>
            </a:r>
            <a:r>
              <a:rPr lang="fr-CH" dirty="0" err="1"/>
              <a:t>Fachbereich</a:t>
            </a:r>
            <a:endParaRPr lang="fr-CH" dirty="0"/>
          </a:p>
          <a:p>
            <a:pPr marL="0" indent="0">
              <a:spcAft>
                <a:spcPts val="600"/>
              </a:spcAft>
              <a:buNone/>
            </a:pPr>
            <a:endParaRPr lang="fr-CH" sz="800" dirty="0"/>
          </a:p>
          <a:p>
            <a:pPr marL="0" indent="0">
              <a:spcAft>
                <a:spcPts val="600"/>
              </a:spcAft>
              <a:buNone/>
            </a:pPr>
            <a:r>
              <a:rPr lang="fr-CH" dirty="0"/>
              <a:t>- </a:t>
            </a:r>
            <a:r>
              <a:rPr lang="fr-CH" dirty="0" err="1"/>
              <a:t>Fragebogen</a:t>
            </a:r>
            <a:r>
              <a:rPr lang="fr-CH" dirty="0"/>
              <a:t> «Forms» </a:t>
            </a:r>
            <a:r>
              <a:rPr lang="fr-CH" dirty="0" err="1"/>
              <a:t>für</a:t>
            </a:r>
            <a:r>
              <a:rPr lang="fr-CH" dirty="0"/>
              <a:t> die Wahl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Datum</a:t>
            </a:r>
            <a:r>
              <a:rPr lang="fr-CH" dirty="0"/>
              <a:t>, Zeit </a:t>
            </a:r>
            <a:r>
              <a:rPr lang="fr-CH" dirty="0" err="1"/>
              <a:t>vom</a:t>
            </a:r>
            <a:r>
              <a:rPr lang="fr-CH" dirty="0"/>
              <a:t> </a:t>
            </a:r>
            <a:r>
              <a:rPr lang="fr-CH" dirty="0" err="1"/>
              <a:t>Beginn</a:t>
            </a:r>
            <a:r>
              <a:rPr lang="fr-CH" dirty="0"/>
              <a:t> der 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dirty="0"/>
              <a:t>  VPA (</a:t>
            </a:r>
            <a:r>
              <a:rPr lang="fr-CH" dirty="0" err="1"/>
              <a:t>verfügbar</a:t>
            </a:r>
            <a:r>
              <a:rPr lang="fr-CH" dirty="0"/>
              <a:t> ab </a:t>
            </a:r>
            <a:r>
              <a:rPr lang="fr-CH" dirty="0" err="1"/>
              <a:t>Mitte-Dezember</a:t>
            </a:r>
            <a:r>
              <a:rPr lang="fr-CH" dirty="0"/>
              <a:t> </a:t>
            </a:r>
            <a:r>
              <a:rPr lang="fr-CH" dirty="0" err="1"/>
              <a:t>auf</a:t>
            </a:r>
            <a:r>
              <a:rPr lang="fr-CH" dirty="0"/>
              <a:t> der </a:t>
            </a:r>
            <a:r>
              <a:rPr lang="fr-CH" dirty="0" err="1"/>
              <a:t>Homepage</a:t>
            </a:r>
            <a:r>
              <a:rPr lang="fr-CH" dirty="0"/>
              <a:t> der </a:t>
            </a:r>
            <a:r>
              <a:rPr lang="fr-CH" dirty="0" err="1"/>
              <a:t>OrTra</a:t>
            </a:r>
            <a:r>
              <a:rPr lang="fr-CH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442532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11560" y="423941"/>
            <a:ext cx="8242300" cy="412771"/>
          </a:xfrm>
        </p:spPr>
        <p:txBody>
          <a:bodyPr/>
          <a:lstStyle/>
          <a:p>
            <a:pPr algn="ctr"/>
            <a:r>
              <a:rPr lang="fr-FR" dirty="0"/>
              <a:t>EFZ - FABE</a:t>
            </a:r>
            <a:br>
              <a:rPr lang="fr-CH" dirty="0"/>
            </a:b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2286000" y="1772816"/>
            <a:ext cx="4572000" cy="169277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fr-CH" sz="4400" b="1" dirty="0">
                <a:solidFill>
                  <a:srgbClr val="FF0000"/>
                </a:solidFill>
              </a:rPr>
              <a:t> VIEL GLÜCK</a:t>
            </a:r>
          </a:p>
          <a:p>
            <a:endParaRPr lang="fr-CH" sz="2800" b="1" dirty="0"/>
          </a:p>
          <a:p>
            <a:r>
              <a:rPr lang="fr-FR" sz="3200" dirty="0"/>
              <a:t>EFZ – QV 2025</a:t>
            </a:r>
          </a:p>
        </p:txBody>
      </p:sp>
      <p:pic>
        <p:nvPicPr>
          <p:cNvPr id="292876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3789040"/>
            <a:ext cx="2143125" cy="214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06695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CH" dirty="0">
                <a:solidFill>
                  <a:srgbClr val="FF0000"/>
                </a:solidFill>
              </a:rPr>
              <a:t>Mandat </a:t>
            </a:r>
            <a:r>
              <a:rPr lang="fr-CH" dirty="0" err="1">
                <a:solidFill>
                  <a:srgbClr val="FF0000"/>
                </a:solidFill>
              </a:rPr>
              <a:t>als</a:t>
            </a:r>
            <a:r>
              <a:rPr lang="fr-CH" dirty="0">
                <a:solidFill>
                  <a:srgbClr val="FF0000"/>
                </a:solidFill>
              </a:rPr>
              <a:t> Expert/in </a:t>
            </a:r>
            <a:r>
              <a:rPr lang="fr-CH" dirty="0" err="1">
                <a:solidFill>
                  <a:srgbClr val="FF0000"/>
                </a:solidFill>
              </a:rPr>
              <a:t>FaBe</a:t>
            </a:r>
            <a:endParaRPr lang="fr-CH" dirty="0">
              <a:solidFill>
                <a:srgbClr val="FF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4047262"/>
          </a:xfrm>
        </p:spPr>
        <p:txBody>
          <a:bodyPr/>
          <a:lstStyle/>
          <a:p>
            <a:pPr>
              <a:spcAft>
                <a:spcPts val="0"/>
              </a:spcAft>
              <a:buNone/>
            </a:pPr>
            <a:r>
              <a:rPr lang="fr-CH" dirty="0" err="1"/>
              <a:t>Sie</a:t>
            </a:r>
            <a:r>
              <a:rPr lang="fr-CH" dirty="0"/>
              <a:t> </a:t>
            </a:r>
            <a:r>
              <a:rPr lang="fr-CH" dirty="0" err="1"/>
              <a:t>sind</a:t>
            </a:r>
            <a:r>
              <a:rPr lang="fr-CH" dirty="0"/>
              <a:t> </a:t>
            </a:r>
            <a:r>
              <a:rPr lang="fr-CH" dirty="0" err="1"/>
              <a:t>interessiert</a:t>
            </a:r>
            <a:r>
              <a:rPr lang="fr-CH" dirty="0"/>
              <a:t> Experte / </a:t>
            </a:r>
            <a:r>
              <a:rPr lang="fr-CH" dirty="0" err="1"/>
              <a:t>Expertin</a:t>
            </a:r>
            <a:r>
              <a:rPr lang="fr-CH" dirty="0"/>
              <a:t> </a:t>
            </a:r>
            <a:r>
              <a:rPr lang="fr-CH" dirty="0" err="1"/>
              <a:t>zu</a:t>
            </a:r>
            <a:r>
              <a:rPr lang="fr-CH" dirty="0"/>
              <a:t> </a:t>
            </a:r>
            <a:r>
              <a:rPr lang="fr-CH" dirty="0" err="1"/>
              <a:t>werden</a:t>
            </a:r>
            <a:r>
              <a:rPr lang="fr-CH" dirty="0"/>
              <a:t> ? </a:t>
            </a:r>
            <a:r>
              <a:rPr lang="fr-CH" dirty="0" err="1"/>
              <a:t>Dann</a:t>
            </a:r>
            <a:r>
              <a:rPr lang="fr-CH" dirty="0"/>
              <a:t> </a:t>
            </a:r>
            <a:r>
              <a:rPr lang="fr-CH" dirty="0" err="1"/>
              <a:t>besuchen</a:t>
            </a:r>
            <a:endParaRPr lang="fr-CH" dirty="0"/>
          </a:p>
          <a:p>
            <a:pPr>
              <a:spcAft>
                <a:spcPts val="0"/>
              </a:spcAft>
              <a:buNone/>
            </a:pPr>
            <a:r>
              <a:rPr lang="fr-CH" dirty="0" err="1"/>
              <a:t>Sie</a:t>
            </a:r>
            <a:r>
              <a:rPr lang="fr-CH" dirty="0"/>
              <a:t> die </a:t>
            </a:r>
            <a:r>
              <a:rPr lang="fr-CH" dirty="0" err="1"/>
              <a:t>Homepage</a:t>
            </a:r>
            <a:r>
              <a:rPr lang="fr-CH" dirty="0"/>
              <a:t> der </a:t>
            </a:r>
            <a:r>
              <a:rPr lang="fr-CH" dirty="0" err="1"/>
              <a:t>kantonalen</a:t>
            </a:r>
            <a:r>
              <a:rPr lang="fr-CH" dirty="0"/>
              <a:t> </a:t>
            </a:r>
            <a:r>
              <a:rPr lang="fr-CH" dirty="0" err="1"/>
              <a:t>OrTra</a:t>
            </a:r>
            <a:r>
              <a:rPr lang="fr-CH" dirty="0"/>
              <a:t> </a:t>
            </a:r>
            <a:r>
              <a:rPr lang="fr-CH" dirty="0" err="1"/>
              <a:t>Gesundheit</a:t>
            </a:r>
            <a:r>
              <a:rPr lang="fr-CH" dirty="0"/>
              <a:t> und </a:t>
            </a:r>
            <a:r>
              <a:rPr lang="fr-CH" dirty="0" err="1"/>
              <a:t>Soziales</a:t>
            </a:r>
            <a:r>
              <a:rPr lang="fr-CH" dirty="0"/>
              <a:t> :</a:t>
            </a:r>
          </a:p>
          <a:p>
            <a:pPr>
              <a:buNone/>
            </a:pPr>
            <a:endParaRPr lang="fr-CH" sz="1800" dirty="0"/>
          </a:p>
          <a:p>
            <a:pPr marL="0" indent="0" algn="ctr">
              <a:spcAft>
                <a:spcPts val="0"/>
              </a:spcAft>
              <a:buNone/>
            </a:pPr>
            <a:r>
              <a:rPr lang="fr-CH" sz="3200" b="1" dirty="0">
                <a:latin typeface="+mn-lt"/>
                <a:hlinkClick r:id="rId2"/>
              </a:rPr>
              <a:t>www.ortrafr.ch</a:t>
            </a:r>
            <a:endParaRPr lang="fr-CH" sz="3200" b="1" dirty="0">
              <a:latin typeface="+mn-lt"/>
            </a:endParaRPr>
          </a:p>
          <a:p>
            <a:pPr marL="0" indent="0" algn="ctr">
              <a:spcAft>
                <a:spcPts val="0"/>
              </a:spcAft>
              <a:buNone/>
            </a:pPr>
            <a:r>
              <a:rPr lang="fr-CH" sz="1800" b="1" dirty="0">
                <a:latin typeface="Webdings" panose="05030102010509060703" pitchFamily="18" charset="2"/>
              </a:rPr>
              <a:t>6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fr-CH" sz="1800" dirty="0" err="1">
                <a:latin typeface="+mj-lt"/>
              </a:rPr>
              <a:t>Fachfrau</a:t>
            </a:r>
            <a:r>
              <a:rPr lang="fr-CH" sz="1800" dirty="0">
                <a:latin typeface="+mj-lt"/>
              </a:rPr>
              <a:t>- / </a:t>
            </a:r>
            <a:r>
              <a:rPr lang="fr-CH" sz="1800" dirty="0" err="1">
                <a:latin typeface="+mj-lt"/>
              </a:rPr>
              <a:t>mann</a:t>
            </a:r>
            <a:r>
              <a:rPr lang="fr-CH" sz="1800" dirty="0">
                <a:latin typeface="+mj-lt"/>
              </a:rPr>
              <a:t> </a:t>
            </a:r>
            <a:r>
              <a:rPr lang="fr-CH" sz="1800" dirty="0" err="1">
                <a:latin typeface="+mj-lt"/>
              </a:rPr>
              <a:t>Betreuung</a:t>
            </a:r>
            <a:r>
              <a:rPr lang="fr-CH" sz="1800" dirty="0">
                <a:latin typeface="+mj-lt"/>
              </a:rPr>
              <a:t> EFZ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fr-CH" sz="1800" dirty="0">
                <a:latin typeface="Webdings" panose="05030102010509060703" pitchFamily="18" charset="2"/>
              </a:rPr>
              <a:t>6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fr-CH" sz="1800" dirty="0" err="1">
                <a:latin typeface="+mj-lt"/>
              </a:rPr>
              <a:t>Qualifikationsverfahren</a:t>
            </a:r>
            <a:endParaRPr lang="fr-CH" sz="1800" dirty="0">
              <a:latin typeface="+mj-lt"/>
            </a:endParaRPr>
          </a:p>
          <a:p>
            <a:pPr marL="0" indent="0" algn="ctr">
              <a:spcAft>
                <a:spcPts val="0"/>
              </a:spcAft>
              <a:buNone/>
            </a:pPr>
            <a:r>
              <a:rPr lang="fr-CH" sz="1800" dirty="0">
                <a:latin typeface="Webdings" panose="05030102010509060703" pitchFamily="18" charset="2"/>
              </a:rPr>
              <a:t>6</a:t>
            </a:r>
          </a:p>
          <a:p>
            <a:pPr marL="0" indent="0" algn="ctr">
              <a:spcAft>
                <a:spcPts val="0"/>
              </a:spcAft>
              <a:buNone/>
            </a:pPr>
            <a:r>
              <a:rPr lang="fr-CH" sz="1800" dirty="0" err="1">
                <a:latin typeface="+mj-lt"/>
              </a:rPr>
              <a:t>Informationen</a:t>
            </a:r>
            <a:r>
              <a:rPr lang="fr-CH" sz="1800" dirty="0">
                <a:latin typeface="+mj-lt"/>
              </a:rPr>
              <a:t> </a:t>
            </a:r>
            <a:r>
              <a:rPr lang="fr-CH" sz="1800" dirty="0" err="1">
                <a:latin typeface="+mj-lt"/>
              </a:rPr>
              <a:t>für</a:t>
            </a:r>
            <a:r>
              <a:rPr lang="fr-CH" sz="1800" dirty="0">
                <a:latin typeface="+mj-lt"/>
              </a:rPr>
              <a:t> die </a:t>
            </a:r>
            <a:r>
              <a:rPr lang="fr-CH" sz="1800" dirty="0" err="1">
                <a:latin typeface="+mj-lt"/>
              </a:rPr>
              <a:t>Experten</a:t>
            </a:r>
            <a:r>
              <a:rPr lang="fr-CH" sz="1800" dirty="0">
                <a:latin typeface="+mj-lt"/>
              </a:rPr>
              <a:t> </a:t>
            </a:r>
            <a:r>
              <a:rPr lang="fr-CH" sz="1800" dirty="0" err="1">
                <a:latin typeface="+mj-lt"/>
              </a:rPr>
              <a:t>FaBe</a:t>
            </a:r>
            <a:endParaRPr lang="fr-CH" sz="1800" dirty="0">
              <a:latin typeface="+mj-lt"/>
            </a:endParaRPr>
          </a:p>
          <a:p>
            <a:pPr marL="0" indent="0" algn="ctr">
              <a:spcAft>
                <a:spcPts val="0"/>
              </a:spcAft>
              <a:buNone/>
            </a:pPr>
            <a:endParaRPr lang="fr-CH" sz="1800" dirty="0">
              <a:latin typeface="+mj-lt"/>
            </a:endParaRPr>
          </a:p>
          <a:p>
            <a:pPr marL="0" indent="0" algn="ctr">
              <a:spcAft>
                <a:spcPts val="0"/>
              </a:spcAft>
              <a:buNone/>
            </a:pPr>
            <a:endParaRPr lang="fr-CH" sz="1800" dirty="0">
              <a:latin typeface="+mj-lt"/>
            </a:endParaRPr>
          </a:p>
          <a:p>
            <a:pPr marL="0" indent="0">
              <a:buNone/>
            </a:pPr>
            <a:r>
              <a:rPr lang="fr-CH" b="1" dirty="0" err="1">
                <a:latin typeface="+mn-lt"/>
              </a:rPr>
              <a:t>Bewerbungsfrist</a:t>
            </a:r>
            <a:r>
              <a:rPr lang="fr-CH" b="1" dirty="0">
                <a:latin typeface="+mn-lt"/>
              </a:rPr>
              <a:t> : 15. August</a:t>
            </a:r>
          </a:p>
        </p:txBody>
      </p:sp>
    </p:spTree>
    <p:extLst>
      <p:ext uri="{BB962C8B-B14F-4D97-AF65-F5344CB8AC3E}">
        <p14:creationId xmlns:p14="http://schemas.microsoft.com/office/powerpoint/2010/main" val="2398226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CH" dirty="0"/>
              <a:t> EFZ FAB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777342"/>
            <a:ext cx="8242300" cy="969496"/>
          </a:xfrm>
        </p:spPr>
        <p:txBody>
          <a:bodyPr/>
          <a:lstStyle/>
          <a:p>
            <a:pPr algn="ctr">
              <a:lnSpc>
                <a:spcPct val="90000"/>
              </a:lnSpc>
              <a:spcAft>
                <a:spcPts val="600"/>
              </a:spcAft>
              <a:buNone/>
            </a:pPr>
            <a:r>
              <a:rPr lang="fr-FR" b="1" dirty="0"/>
              <a:t>Allgemeine </a:t>
            </a:r>
            <a:r>
              <a:rPr lang="fr-FR" b="1" dirty="0" err="1"/>
              <a:t>und</a:t>
            </a:r>
            <a:r>
              <a:rPr lang="fr-FR" b="1" dirty="0"/>
              <a:t> </a:t>
            </a:r>
            <a:r>
              <a:rPr lang="fr-FR" b="1" dirty="0" err="1"/>
              <a:t>spezifische</a:t>
            </a:r>
            <a:r>
              <a:rPr lang="fr-FR" b="1" dirty="0"/>
              <a:t> </a:t>
            </a:r>
            <a:r>
              <a:rPr lang="fr-FR" b="1" dirty="0" err="1"/>
              <a:t>Berufskenntnisse</a:t>
            </a:r>
            <a:endParaRPr lang="fr-FR" b="1" dirty="0"/>
          </a:p>
          <a:p>
            <a:pPr algn="ctr">
              <a:spcAft>
                <a:spcPts val="600"/>
              </a:spcAft>
              <a:buNone/>
            </a:pPr>
            <a:r>
              <a:rPr lang="fr-FR" b="1" dirty="0" err="1"/>
              <a:t>Schriftliche</a:t>
            </a:r>
            <a:r>
              <a:rPr lang="fr-FR" b="1" dirty="0"/>
              <a:t> </a:t>
            </a:r>
            <a:r>
              <a:rPr lang="fr-FR" b="1" dirty="0" err="1"/>
              <a:t>Prüfung</a:t>
            </a:r>
            <a:r>
              <a:rPr lang="fr-FR" b="1" dirty="0"/>
              <a:t> </a:t>
            </a:r>
            <a:r>
              <a:rPr lang="fr-FR" b="1" dirty="0" err="1"/>
              <a:t>vom</a:t>
            </a:r>
            <a:r>
              <a:rPr lang="fr-FR" b="1" dirty="0"/>
              <a:t> </a:t>
            </a:r>
            <a:r>
              <a:rPr lang="fr-FR" b="1" dirty="0" err="1"/>
              <a:t>Dienstag</a:t>
            </a:r>
            <a:r>
              <a:rPr lang="fr-FR" b="1" dirty="0"/>
              <a:t>, </a:t>
            </a:r>
            <a:r>
              <a:rPr lang="fr-FR" b="1" dirty="0">
                <a:solidFill>
                  <a:srgbClr val="FF0000"/>
                </a:solidFill>
              </a:rPr>
              <a:t>3. Juni 2025 </a:t>
            </a:r>
            <a:r>
              <a:rPr lang="fr-FR" b="1" dirty="0"/>
              <a:t>/ </a:t>
            </a:r>
            <a:r>
              <a:rPr lang="fr-FR" b="1" dirty="0" err="1"/>
              <a:t>Vormittag</a:t>
            </a:r>
            <a:r>
              <a:rPr lang="fr-FR" b="1" dirty="0"/>
              <a:t> an der </a:t>
            </a:r>
            <a:r>
              <a:rPr lang="fr-FR" b="1" dirty="0" err="1"/>
              <a:t>Universität</a:t>
            </a:r>
            <a:r>
              <a:rPr lang="fr-FR" b="1" dirty="0"/>
              <a:t> </a:t>
            </a:r>
            <a:r>
              <a:rPr lang="fr-FR" b="1" dirty="0" err="1"/>
              <a:t>Misericorde</a:t>
            </a:r>
            <a:r>
              <a:rPr lang="fr-FR" b="1" dirty="0"/>
              <a:t>, Fribourg (</a:t>
            </a:r>
            <a:r>
              <a:rPr lang="fr-FR" b="1" dirty="0" err="1"/>
              <a:t>gemäss</a:t>
            </a:r>
            <a:r>
              <a:rPr lang="fr-FR" b="1" dirty="0"/>
              <a:t> Plan)</a:t>
            </a:r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457200" y="1844824"/>
            <a:ext cx="8242300" cy="4468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lnSpc>
                <a:spcPct val="80000"/>
              </a:lnSpc>
            </a:pPr>
            <a:endParaRPr lang="fr-FR" sz="1400" dirty="0"/>
          </a:p>
          <a:p>
            <a:pPr algn="l">
              <a:lnSpc>
                <a:spcPct val="80000"/>
              </a:lnSpc>
            </a:pPr>
            <a:r>
              <a:rPr lang="fr-FR" b="1" dirty="0">
                <a:solidFill>
                  <a:srgbClr val="FF0000"/>
                </a:solidFill>
              </a:rPr>
              <a:t>08.00 </a:t>
            </a:r>
            <a:r>
              <a:rPr lang="fr-FR" b="1" dirty="0" err="1">
                <a:solidFill>
                  <a:srgbClr val="FF0000"/>
                </a:solidFill>
              </a:rPr>
              <a:t>Uhr</a:t>
            </a:r>
            <a:r>
              <a:rPr lang="fr-FR" b="1" dirty="0">
                <a:solidFill>
                  <a:srgbClr val="FF0000"/>
                </a:solidFill>
              </a:rPr>
              <a:t> </a:t>
            </a:r>
            <a:r>
              <a:rPr lang="fr-FR" b="1" dirty="0" err="1"/>
              <a:t>Empfang</a:t>
            </a:r>
            <a:r>
              <a:rPr lang="fr-FR" b="1" dirty="0"/>
              <a:t> </a:t>
            </a:r>
            <a:r>
              <a:rPr lang="fr-FR" b="1" dirty="0" err="1"/>
              <a:t>und</a:t>
            </a:r>
            <a:r>
              <a:rPr lang="fr-FR" b="1" dirty="0"/>
              <a:t> Information : 10 </a:t>
            </a:r>
            <a:r>
              <a:rPr lang="fr-FR" b="1" dirty="0" err="1"/>
              <a:t>Minuten</a:t>
            </a:r>
            <a:endParaRPr lang="fr-FR" b="1" dirty="0"/>
          </a:p>
          <a:p>
            <a:pPr algn="l">
              <a:lnSpc>
                <a:spcPct val="80000"/>
              </a:lnSpc>
            </a:pPr>
            <a:endParaRPr lang="fr-FR" sz="1400" b="1" dirty="0"/>
          </a:p>
          <a:p>
            <a:pPr algn="l">
              <a:lnSpc>
                <a:spcPct val="80000"/>
              </a:lnSpc>
            </a:pPr>
            <a:r>
              <a:rPr lang="fr-FR" b="1" dirty="0"/>
              <a:t>1. Teil : 120 </a:t>
            </a:r>
            <a:r>
              <a:rPr lang="fr-FR" b="1" dirty="0" err="1"/>
              <a:t>Minuten</a:t>
            </a:r>
            <a:r>
              <a:rPr lang="fr-FR" b="1" dirty="0"/>
              <a:t> </a:t>
            </a:r>
            <a:r>
              <a:rPr lang="fr-FR" sz="1600" dirty="0"/>
              <a:t>(08.10 – 10.10 </a:t>
            </a:r>
            <a:r>
              <a:rPr lang="fr-FR" sz="1600" dirty="0" err="1"/>
              <a:t>Uhr</a:t>
            </a:r>
            <a:r>
              <a:rPr lang="fr-FR" sz="1600" dirty="0"/>
              <a:t>) </a:t>
            </a:r>
            <a:r>
              <a:rPr lang="fr-FR" dirty="0"/>
              <a:t>-  </a:t>
            </a:r>
            <a:r>
              <a:rPr lang="fr-FR" dirty="0" err="1"/>
              <a:t>Fragen</a:t>
            </a:r>
            <a:r>
              <a:rPr lang="fr-FR" dirty="0"/>
              <a:t> </a:t>
            </a:r>
            <a:r>
              <a:rPr lang="fr-FR" dirty="0" err="1"/>
              <a:t>Prüfungsposition</a:t>
            </a:r>
            <a:r>
              <a:rPr lang="fr-FR" dirty="0"/>
              <a:t> 1</a:t>
            </a:r>
          </a:p>
          <a:p>
            <a:pPr algn="l">
              <a:lnSpc>
                <a:spcPct val="80000"/>
              </a:lnSpc>
            </a:pPr>
            <a:endParaRPr lang="fr-FR" altLang="ja-JP" sz="1400" i="1" dirty="0">
              <a:ea typeface="MS PGothic" pitchFamily="34" charset="-128"/>
            </a:endParaRPr>
          </a:p>
          <a:p>
            <a:pPr marL="457200" indent="-457200" algn="l">
              <a:lnSpc>
                <a:spcPct val="80000"/>
              </a:lnSpc>
              <a:buAutoNum type="alphaLcParenR"/>
            </a:pPr>
            <a:r>
              <a:rPr lang="fr-FR" altLang="ja-JP" i="1" dirty="0">
                <a:ea typeface="MS PGothic" pitchFamily="34" charset="-128"/>
              </a:rPr>
              <a:t>« </a:t>
            </a:r>
            <a:r>
              <a:rPr lang="fr-FR" altLang="ja-JP" i="1" dirty="0" err="1">
                <a:ea typeface="MS PGothic" pitchFamily="34" charset="-128"/>
              </a:rPr>
              <a:t>Anwenden</a:t>
            </a:r>
            <a:r>
              <a:rPr lang="fr-FR" altLang="ja-JP" i="1" dirty="0">
                <a:ea typeface="MS PGothic" pitchFamily="34" charset="-128"/>
              </a:rPr>
              <a:t> von </a:t>
            </a:r>
            <a:r>
              <a:rPr lang="fr-FR" altLang="ja-JP" i="1" dirty="0" err="1">
                <a:ea typeface="MS PGothic" pitchFamily="34" charset="-128"/>
              </a:rPr>
              <a:t>transversalen</a:t>
            </a:r>
            <a:r>
              <a:rPr lang="fr-FR" altLang="ja-JP" i="1" dirty="0">
                <a:ea typeface="MS PGothic" pitchFamily="34" charset="-128"/>
              </a:rPr>
              <a:t> </a:t>
            </a:r>
            <a:r>
              <a:rPr lang="fr-FR" altLang="ja-JP" i="1" dirty="0" err="1">
                <a:ea typeface="MS PGothic" pitchFamily="34" charset="-128"/>
              </a:rPr>
              <a:t>Kompetenzen</a:t>
            </a:r>
            <a:r>
              <a:rPr lang="fr-FR" altLang="ja-JP" i="1" dirty="0">
                <a:ea typeface="MS PGothic" pitchFamily="34" charset="-128"/>
              </a:rPr>
              <a:t> »</a:t>
            </a:r>
          </a:p>
          <a:p>
            <a:pPr marL="457200" indent="-457200" algn="l">
              <a:lnSpc>
                <a:spcPct val="80000"/>
              </a:lnSpc>
              <a:buAutoNum type="alphaLcParenR"/>
            </a:pPr>
            <a:r>
              <a:rPr lang="fr-FR" altLang="ja-JP" i="1" dirty="0">
                <a:ea typeface="MS PGothic" pitchFamily="34" charset="-128"/>
              </a:rPr>
              <a:t>« </a:t>
            </a:r>
            <a:r>
              <a:rPr lang="fr-FR" altLang="ja-JP" i="1" dirty="0" err="1">
                <a:ea typeface="MS PGothic" pitchFamily="34" charset="-128"/>
              </a:rPr>
              <a:t>Begleiten</a:t>
            </a:r>
            <a:r>
              <a:rPr lang="fr-FR" altLang="ja-JP" i="1" dirty="0">
                <a:ea typeface="MS PGothic" pitchFamily="34" charset="-128"/>
              </a:rPr>
              <a:t> </a:t>
            </a:r>
            <a:r>
              <a:rPr lang="fr-FR" altLang="ja-JP" i="1" dirty="0" err="1">
                <a:ea typeface="MS PGothic" pitchFamily="34" charset="-128"/>
              </a:rPr>
              <a:t>im</a:t>
            </a:r>
            <a:r>
              <a:rPr lang="fr-FR" altLang="ja-JP" i="1" dirty="0">
                <a:ea typeface="MS PGothic" pitchFamily="34" charset="-128"/>
              </a:rPr>
              <a:t> </a:t>
            </a:r>
            <a:r>
              <a:rPr lang="fr-FR" altLang="ja-JP" i="1" dirty="0" err="1">
                <a:ea typeface="MS PGothic" pitchFamily="34" charset="-128"/>
              </a:rPr>
              <a:t>Alltag</a:t>
            </a:r>
            <a:r>
              <a:rPr lang="fr-FR" altLang="ja-JP" i="1" dirty="0">
                <a:ea typeface="MS PGothic" pitchFamily="34" charset="-128"/>
              </a:rPr>
              <a:t> »</a:t>
            </a:r>
          </a:p>
          <a:p>
            <a:pPr marL="457200" indent="-457200" algn="l">
              <a:lnSpc>
                <a:spcPct val="80000"/>
              </a:lnSpc>
              <a:buAutoNum type="alphaLcParenR"/>
            </a:pPr>
            <a:r>
              <a:rPr lang="fr-FR" altLang="ja-JP" i="1" dirty="0">
                <a:ea typeface="MS PGothic" pitchFamily="34" charset="-128"/>
              </a:rPr>
              <a:t>« </a:t>
            </a:r>
            <a:r>
              <a:rPr lang="fr-FR" altLang="ja-JP" i="1" dirty="0" err="1">
                <a:ea typeface="MS PGothic" pitchFamily="34" charset="-128"/>
              </a:rPr>
              <a:t>Ermöglichen</a:t>
            </a:r>
            <a:r>
              <a:rPr lang="fr-FR" altLang="ja-JP" i="1" dirty="0">
                <a:ea typeface="MS PGothic" pitchFamily="34" charset="-128"/>
              </a:rPr>
              <a:t> von Autonomie </a:t>
            </a:r>
            <a:r>
              <a:rPr lang="fr-FR" altLang="ja-JP" i="1" dirty="0" err="1">
                <a:ea typeface="MS PGothic" pitchFamily="34" charset="-128"/>
              </a:rPr>
              <a:t>und</a:t>
            </a:r>
            <a:r>
              <a:rPr lang="fr-FR" altLang="ja-JP" i="1" dirty="0">
                <a:ea typeface="MS PGothic" pitchFamily="34" charset="-128"/>
              </a:rPr>
              <a:t> </a:t>
            </a:r>
            <a:r>
              <a:rPr lang="fr-FR" altLang="ja-JP" i="1" dirty="0" err="1">
                <a:ea typeface="MS PGothic" pitchFamily="34" charset="-128"/>
              </a:rPr>
              <a:t>Partizipation</a:t>
            </a:r>
            <a:r>
              <a:rPr lang="fr-FR" altLang="ja-JP" i="1" dirty="0">
                <a:ea typeface="MS PGothic" pitchFamily="34" charset="-128"/>
              </a:rPr>
              <a:t> »</a:t>
            </a:r>
          </a:p>
          <a:p>
            <a:pPr indent="-457200" algn="l">
              <a:lnSpc>
                <a:spcPct val="80000"/>
              </a:lnSpc>
              <a:buAutoNum type="alphaLcParenR"/>
            </a:pPr>
            <a:r>
              <a:rPr lang="fr-FR" altLang="ja-JP" i="1" dirty="0">
                <a:ea typeface="MS PGothic" pitchFamily="34" charset="-128"/>
              </a:rPr>
              <a:t>« </a:t>
            </a:r>
            <a:r>
              <a:rPr lang="fr-FR" altLang="ja-JP" i="1" dirty="0" err="1">
                <a:ea typeface="MS PGothic" pitchFamily="34" charset="-128"/>
              </a:rPr>
              <a:t>Arbeiten</a:t>
            </a:r>
            <a:r>
              <a:rPr lang="fr-FR" altLang="ja-JP" i="1" dirty="0">
                <a:ea typeface="MS PGothic" pitchFamily="34" charset="-128"/>
              </a:rPr>
              <a:t> in </a:t>
            </a:r>
            <a:r>
              <a:rPr lang="fr-FR" altLang="ja-JP" i="1" dirty="0" err="1">
                <a:ea typeface="MS PGothic" pitchFamily="34" charset="-128"/>
              </a:rPr>
              <a:t>einer</a:t>
            </a:r>
            <a:r>
              <a:rPr lang="fr-FR" altLang="ja-JP" i="1" dirty="0">
                <a:ea typeface="MS PGothic" pitchFamily="34" charset="-128"/>
              </a:rPr>
              <a:t> Organisation »</a:t>
            </a:r>
          </a:p>
          <a:p>
            <a:pPr algn="l">
              <a:lnSpc>
                <a:spcPct val="80000"/>
              </a:lnSpc>
            </a:pPr>
            <a:endParaRPr lang="fr-FR" altLang="ja-JP" sz="1200" b="1" i="1" dirty="0">
              <a:ea typeface="MS PGothic" pitchFamily="34" charset="-128"/>
            </a:endParaRPr>
          </a:p>
          <a:p>
            <a:pPr algn="l">
              <a:lnSpc>
                <a:spcPct val="80000"/>
              </a:lnSpc>
            </a:pPr>
            <a:endParaRPr lang="fr-FR" altLang="ja-JP" sz="1200" b="1" i="1" dirty="0">
              <a:ea typeface="MS PGothic" pitchFamily="34" charset="-128"/>
            </a:endParaRPr>
          </a:p>
          <a:p>
            <a:pPr>
              <a:lnSpc>
                <a:spcPct val="80000"/>
              </a:lnSpc>
            </a:pPr>
            <a:r>
              <a:rPr lang="fr-FR" altLang="ja-JP" b="1" dirty="0">
                <a:ea typeface="MS PGothic" pitchFamily="34" charset="-128"/>
              </a:rPr>
              <a:t>Pause 10.10 – 10.40</a:t>
            </a:r>
          </a:p>
          <a:p>
            <a:pPr>
              <a:lnSpc>
                <a:spcPct val="80000"/>
              </a:lnSpc>
            </a:pPr>
            <a:endParaRPr lang="fr-FR" altLang="ja-JP" sz="1200" i="1" dirty="0">
              <a:ea typeface="MS PGothic" pitchFamily="34" charset="-128"/>
            </a:endParaRPr>
          </a:p>
          <a:p>
            <a:pPr algn="l"/>
            <a:r>
              <a:rPr lang="fr-FR" i="1" dirty="0">
                <a:ea typeface="MS PGothic" pitchFamily="34" charset="-128"/>
              </a:rPr>
              <a:t> </a:t>
            </a:r>
            <a:r>
              <a:rPr lang="fr-FR" b="1" dirty="0"/>
              <a:t>2. Teil : 60 </a:t>
            </a:r>
            <a:r>
              <a:rPr lang="fr-FR" b="1" dirty="0" err="1"/>
              <a:t>Minuten</a:t>
            </a:r>
            <a:r>
              <a:rPr lang="fr-FR" b="1" dirty="0"/>
              <a:t> </a:t>
            </a:r>
            <a:r>
              <a:rPr lang="fr-FR" dirty="0"/>
              <a:t>: </a:t>
            </a:r>
            <a:r>
              <a:rPr lang="fr-FR" dirty="0" err="1"/>
              <a:t>Fragen</a:t>
            </a:r>
            <a:r>
              <a:rPr lang="fr-FR" dirty="0"/>
              <a:t> </a:t>
            </a:r>
            <a:r>
              <a:rPr lang="fr-FR" dirty="0" err="1"/>
              <a:t>zu</a:t>
            </a:r>
            <a:r>
              <a:rPr lang="fr-FR" dirty="0"/>
              <a:t> </a:t>
            </a:r>
            <a:r>
              <a:rPr lang="fr-FR" dirty="0" err="1"/>
              <a:t>Prüfungsposition</a:t>
            </a:r>
            <a:r>
              <a:rPr lang="fr-FR" dirty="0"/>
              <a:t> 2</a:t>
            </a:r>
          </a:p>
          <a:p>
            <a:pPr algn="l"/>
            <a:r>
              <a:rPr lang="fr-FR" dirty="0"/>
              <a:t>(</a:t>
            </a:r>
            <a:r>
              <a:rPr lang="fr-FR" dirty="0" err="1"/>
              <a:t>Fragen</a:t>
            </a:r>
            <a:r>
              <a:rPr lang="fr-FR" dirty="0"/>
              <a:t> </a:t>
            </a:r>
            <a:r>
              <a:rPr lang="fr-FR" dirty="0" err="1"/>
              <a:t>gemäss</a:t>
            </a:r>
            <a:r>
              <a:rPr lang="fr-FR" dirty="0"/>
              <a:t> </a:t>
            </a:r>
            <a:r>
              <a:rPr lang="fr-FR" dirty="0" err="1"/>
              <a:t>Fachrichtung</a:t>
            </a:r>
            <a:r>
              <a:rPr lang="fr-FR" dirty="0"/>
              <a:t>) </a:t>
            </a:r>
            <a:r>
              <a:rPr lang="fr-FR" sz="1600" dirty="0"/>
              <a:t>(10.45 – 11.45 </a:t>
            </a:r>
            <a:r>
              <a:rPr lang="fr-FR" sz="1600" dirty="0" err="1"/>
              <a:t>Uhr</a:t>
            </a:r>
            <a:r>
              <a:rPr lang="fr-FR" sz="1600" dirty="0"/>
              <a:t>)</a:t>
            </a:r>
          </a:p>
          <a:p>
            <a:pPr algn="l"/>
            <a:endParaRPr lang="fr-FR" sz="1200" dirty="0"/>
          </a:p>
          <a:p>
            <a:pPr algn="l"/>
            <a:r>
              <a:rPr lang="fr-FR" sz="1800" dirty="0"/>
              <a:t>e) « </a:t>
            </a:r>
            <a:r>
              <a:rPr lang="fr-FR" sz="1800" dirty="0" err="1"/>
              <a:t>Handeln</a:t>
            </a:r>
            <a:r>
              <a:rPr lang="fr-FR" sz="1800" dirty="0"/>
              <a:t> in </a:t>
            </a:r>
            <a:r>
              <a:rPr lang="fr-FR" sz="1800" dirty="0" err="1"/>
              <a:t>spezifischen</a:t>
            </a:r>
            <a:r>
              <a:rPr lang="fr-FR" sz="1800" dirty="0"/>
              <a:t> </a:t>
            </a:r>
            <a:r>
              <a:rPr lang="fr-FR" sz="1800" dirty="0" err="1"/>
              <a:t>Begleitsituationen</a:t>
            </a:r>
            <a:r>
              <a:rPr lang="fr-FR" sz="1800" dirty="0"/>
              <a:t> »</a:t>
            </a:r>
          </a:p>
          <a:p>
            <a:pPr algn="l"/>
            <a:r>
              <a:rPr lang="fr-FR" sz="1800" dirty="0"/>
              <a:t>f)  « </a:t>
            </a:r>
            <a:r>
              <a:rPr lang="fr-FR" sz="1800" dirty="0" err="1"/>
              <a:t>Unterstützen</a:t>
            </a:r>
            <a:r>
              <a:rPr lang="fr-FR" sz="1800" dirty="0"/>
              <a:t> von </a:t>
            </a:r>
            <a:r>
              <a:rPr lang="fr-FR" sz="1800" dirty="0" err="1"/>
              <a:t>Bildung</a:t>
            </a:r>
            <a:r>
              <a:rPr lang="fr-FR" sz="1800" dirty="0"/>
              <a:t> </a:t>
            </a:r>
            <a:r>
              <a:rPr lang="fr-FR" sz="1800" dirty="0" err="1"/>
              <a:t>und</a:t>
            </a:r>
            <a:r>
              <a:rPr lang="fr-FR" sz="1800" dirty="0"/>
              <a:t> </a:t>
            </a:r>
            <a:r>
              <a:rPr lang="fr-FR" sz="1800" dirty="0" err="1"/>
              <a:t>Entwicklung</a:t>
            </a:r>
            <a:r>
              <a:rPr lang="fr-FR" sz="1800" dirty="0"/>
              <a:t>, </a:t>
            </a:r>
            <a:r>
              <a:rPr lang="fr-FR" sz="1800" dirty="0" err="1"/>
              <a:t>Erhalten</a:t>
            </a:r>
            <a:r>
              <a:rPr lang="fr-FR" sz="1800" dirty="0"/>
              <a:t> </a:t>
            </a:r>
            <a:r>
              <a:rPr lang="fr-FR" sz="1800" dirty="0" err="1"/>
              <a:t>und</a:t>
            </a:r>
            <a:r>
              <a:rPr lang="fr-FR" sz="1800" dirty="0"/>
              <a:t> </a:t>
            </a:r>
            <a:r>
              <a:rPr lang="fr-FR" sz="1800" dirty="0" err="1"/>
              <a:t>Fördern</a:t>
            </a:r>
            <a:r>
              <a:rPr lang="fr-FR" sz="1800" dirty="0"/>
              <a:t> von  </a:t>
            </a:r>
          </a:p>
          <a:p>
            <a:pPr algn="l"/>
            <a:r>
              <a:rPr lang="fr-FR" sz="1800" dirty="0"/>
              <a:t>      </a:t>
            </a:r>
            <a:r>
              <a:rPr lang="fr-FR" sz="1800" dirty="0" err="1"/>
              <a:t>Lebensqualität</a:t>
            </a:r>
            <a:r>
              <a:rPr lang="fr-FR" sz="1800" dirty="0"/>
              <a:t> »</a:t>
            </a:r>
          </a:p>
        </p:txBody>
      </p:sp>
    </p:spTree>
    <p:extLst>
      <p:ext uri="{BB962C8B-B14F-4D97-AF65-F5344CB8AC3E}">
        <p14:creationId xmlns:p14="http://schemas.microsoft.com/office/powerpoint/2010/main" val="2281574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https://www3.unifr.ch/map/fr/assets/public/images/plan/mis-01-1600px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80" y="889866"/>
            <a:ext cx="7467669" cy="50927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Zone de texte 2"/>
          <p:cNvSpPr txBox="1">
            <a:spLocks noChangeArrowheads="1"/>
          </p:cNvSpPr>
          <p:nvPr/>
        </p:nvSpPr>
        <p:spPr bwMode="auto">
          <a:xfrm>
            <a:off x="251520" y="1821678"/>
            <a:ext cx="1656184" cy="86289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no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fr-CH" sz="1100" b="1" dirty="0">
                <a:effectLst/>
                <a:latin typeface="Calibri"/>
                <a:ea typeface="Calibri"/>
                <a:cs typeface="Times New Roman"/>
              </a:rPr>
              <a:t> </a:t>
            </a:r>
            <a:r>
              <a:rPr lang="fr-CH" sz="1400" b="1" dirty="0">
                <a:effectLst/>
                <a:latin typeface="Calibri"/>
                <a:ea typeface="Calibri"/>
                <a:cs typeface="Times New Roman"/>
              </a:rPr>
              <a:t>Auditorium 3111 / 3113 / 3115 / 3117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fr-CH" sz="1400" b="1" dirty="0" err="1">
                <a:effectLst/>
                <a:latin typeface="Calibri"/>
                <a:ea typeface="Calibri"/>
                <a:cs typeface="Times New Roman"/>
              </a:rPr>
              <a:t>Eingang</a:t>
            </a:r>
            <a:endParaRPr lang="fr-CH" sz="1400" b="1" dirty="0">
              <a:effectLst/>
              <a:latin typeface="Calibri"/>
              <a:ea typeface="Calibri"/>
              <a:cs typeface="Times New Roman"/>
            </a:endParaRPr>
          </a:p>
        </p:txBody>
      </p:sp>
      <p:cxnSp>
        <p:nvCxnSpPr>
          <p:cNvPr id="10" name="Connecteur droit avec flèche 9"/>
          <p:cNvCxnSpPr/>
          <p:nvPr/>
        </p:nvCxnSpPr>
        <p:spPr>
          <a:xfrm>
            <a:off x="395536" y="2668290"/>
            <a:ext cx="1656184" cy="71499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Flèche droite 12"/>
          <p:cNvSpPr/>
          <p:nvPr/>
        </p:nvSpPr>
        <p:spPr>
          <a:xfrm>
            <a:off x="395536" y="2668290"/>
            <a:ext cx="45719" cy="45719"/>
          </a:xfrm>
          <a:prstGeom prst="rightArrow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18" name="ZoneTexte 17"/>
          <p:cNvSpPr txBox="1"/>
          <p:nvPr/>
        </p:nvSpPr>
        <p:spPr>
          <a:xfrm>
            <a:off x="5729147" y="332656"/>
            <a:ext cx="2952328" cy="8899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400" b="1" dirty="0"/>
              <a:t>Université Site Miséricorde</a:t>
            </a:r>
          </a:p>
          <a:p>
            <a:pPr>
              <a:spcAft>
                <a:spcPts val="0"/>
              </a:spcAft>
              <a:buClr>
                <a:srgbClr val="074EA1"/>
              </a:buClr>
            </a:pPr>
            <a:r>
              <a:rPr lang="fr-CH" sz="1400" dirty="0"/>
              <a:t>Avenue de l’Europe 20</a:t>
            </a:r>
          </a:p>
          <a:p>
            <a:pPr>
              <a:spcAft>
                <a:spcPts val="0"/>
              </a:spcAft>
              <a:buClr>
                <a:srgbClr val="074EA1"/>
              </a:buClr>
            </a:pPr>
            <a:r>
              <a:rPr lang="fr-CH" sz="1400" dirty="0"/>
              <a:t>1700 Fribourg</a:t>
            </a:r>
          </a:p>
          <a:p>
            <a:pPr algn="l">
              <a:spcAft>
                <a:spcPts val="0"/>
              </a:spcAft>
              <a:buClr>
                <a:srgbClr val="074EA1"/>
              </a:buClr>
            </a:pPr>
            <a:r>
              <a:rPr lang="fr-CH" sz="1400" dirty="0"/>
              <a:t>(5 </a:t>
            </a:r>
            <a:r>
              <a:rPr lang="fr-CH" sz="1400" dirty="0" err="1"/>
              <a:t>Minuten</a:t>
            </a:r>
            <a:r>
              <a:rPr lang="fr-CH" sz="1400" dirty="0"/>
              <a:t> </a:t>
            </a:r>
            <a:r>
              <a:rPr lang="fr-CH" sz="1400" dirty="0" err="1"/>
              <a:t>vom</a:t>
            </a:r>
            <a:r>
              <a:rPr lang="fr-CH" sz="1400" dirty="0"/>
              <a:t> Bahnhof Fribourg)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1" name="Encre 10">
                <a:extLst>
                  <a:ext uri="{FF2B5EF4-FFF2-40B4-BE49-F238E27FC236}">
                    <a16:creationId xmlns:a16="http://schemas.microsoft.com/office/drawing/2014/main" id="{53C92666-F238-86D6-9695-22FFC5D27850}"/>
                  </a:ext>
                </a:extLst>
              </p14:cNvPr>
              <p14:cNvContentPartPr/>
              <p14:nvPr/>
            </p14:nvContentPartPr>
            <p14:xfrm>
              <a:off x="1647406" y="4789334"/>
              <a:ext cx="1018440" cy="517320"/>
            </p14:xfrm>
          </p:contentPart>
        </mc:Choice>
        <mc:Fallback xmlns="">
          <p:pic>
            <p:nvPicPr>
              <p:cNvPr id="11" name="Encre 10">
                <a:extLst>
                  <a:ext uri="{FF2B5EF4-FFF2-40B4-BE49-F238E27FC236}">
                    <a16:creationId xmlns:a16="http://schemas.microsoft.com/office/drawing/2014/main" id="{53C92666-F238-86D6-9695-22FFC5D2785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638406" y="4780694"/>
                <a:ext cx="1036080" cy="53496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2" name="Encre 11">
                <a:extLst>
                  <a:ext uri="{FF2B5EF4-FFF2-40B4-BE49-F238E27FC236}">
                    <a16:creationId xmlns:a16="http://schemas.microsoft.com/office/drawing/2014/main" id="{CC185C8C-77D9-976D-53DE-0BF30B384C79}"/>
                  </a:ext>
                </a:extLst>
              </p14:cNvPr>
              <p14:cNvContentPartPr/>
              <p14:nvPr/>
            </p14:nvContentPartPr>
            <p14:xfrm>
              <a:off x="1722646" y="3165734"/>
              <a:ext cx="623520" cy="429480"/>
            </p14:xfrm>
          </p:contentPart>
        </mc:Choice>
        <mc:Fallback xmlns="">
          <p:pic>
            <p:nvPicPr>
              <p:cNvPr id="12" name="Encre 11">
                <a:extLst>
                  <a:ext uri="{FF2B5EF4-FFF2-40B4-BE49-F238E27FC236}">
                    <a16:creationId xmlns:a16="http://schemas.microsoft.com/office/drawing/2014/main" id="{CC185C8C-77D9-976D-53DE-0BF30B384C79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714006" y="3157094"/>
                <a:ext cx="641160" cy="4471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980117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911532"/>
          </a:xfrm>
        </p:spPr>
        <p:txBody>
          <a:bodyPr/>
          <a:lstStyle/>
          <a:p>
            <a:pPr algn="ctr"/>
            <a:r>
              <a:rPr lang="fr-CH" sz="2800" dirty="0">
                <a:latin typeface="Lucida Sans" pitchFamily="34" charset="0"/>
              </a:rPr>
              <a:t>EFZ FABE</a:t>
            </a:r>
            <a:br>
              <a:rPr lang="fr-CH" sz="2800" dirty="0">
                <a:latin typeface="Lucida Sans" pitchFamily="34" charset="0"/>
              </a:rPr>
            </a:br>
            <a:r>
              <a:rPr lang="fr-CH" sz="2800" dirty="0" err="1">
                <a:latin typeface="Lucida Sans" pitchFamily="34" charset="0"/>
              </a:rPr>
              <a:t>Richtlinien</a:t>
            </a:r>
            <a:r>
              <a:rPr lang="fr-CH" sz="2800" dirty="0">
                <a:latin typeface="Lucida Sans" pitchFamily="34" charset="0"/>
              </a:rPr>
              <a:t> </a:t>
            </a:r>
            <a:r>
              <a:rPr lang="fr-CH" sz="2800" dirty="0" err="1">
                <a:latin typeface="Lucida Sans" pitchFamily="34" charset="0"/>
              </a:rPr>
              <a:t>schriftliche</a:t>
            </a:r>
            <a:r>
              <a:rPr lang="fr-CH" sz="2800" dirty="0">
                <a:latin typeface="Lucida Sans" pitchFamily="34" charset="0"/>
              </a:rPr>
              <a:t> </a:t>
            </a:r>
            <a:r>
              <a:rPr lang="fr-CH" sz="2800" dirty="0" err="1">
                <a:latin typeface="Lucida Sans" pitchFamily="34" charset="0"/>
              </a:rPr>
              <a:t>Prüfung</a:t>
            </a:r>
            <a:r>
              <a:rPr lang="fr-CH" sz="2800" dirty="0">
                <a:latin typeface="Lucida Sans" pitchFamily="34" charset="0"/>
              </a:rPr>
              <a:t> </a:t>
            </a:r>
            <a:r>
              <a:rPr lang="fr-CH" sz="2800" dirty="0" err="1">
                <a:latin typeface="Lucida Sans" pitchFamily="34" charset="0"/>
              </a:rPr>
              <a:t>Bk</a:t>
            </a:r>
            <a:endParaRPr lang="fr-FR" sz="28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327201"/>
            <a:ext cx="8242300" cy="5190652"/>
          </a:xfrm>
        </p:spPr>
        <p:txBody>
          <a:bodyPr/>
          <a:lstStyle/>
          <a:p>
            <a:pPr marL="0" indent="0">
              <a:lnSpc>
                <a:spcPct val="80000"/>
              </a:lnSpc>
              <a:spcAft>
                <a:spcPts val="300"/>
              </a:spcAft>
              <a:buNone/>
            </a:pPr>
            <a:r>
              <a:rPr lang="fr-FR" dirty="0" err="1"/>
              <a:t>Informationen</a:t>
            </a:r>
            <a:r>
              <a:rPr lang="fr-FR" dirty="0"/>
              <a:t> </a:t>
            </a:r>
            <a:r>
              <a:rPr lang="fr-FR" dirty="0" err="1"/>
              <a:t>können</a:t>
            </a:r>
            <a:r>
              <a:rPr lang="fr-FR" dirty="0"/>
              <a:t> </a:t>
            </a:r>
            <a:r>
              <a:rPr lang="fr-FR" dirty="0" err="1"/>
              <a:t>auf</a:t>
            </a:r>
            <a:r>
              <a:rPr lang="fr-FR" dirty="0"/>
              <a:t> der </a:t>
            </a:r>
            <a:r>
              <a:rPr lang="fr-FR" dirty="0" err="1"/>
              <a:t>Internetseite</a:t>
            </a:r>
            <a:r>
              <a:rPr lang="fr-FR" dirty="0"/>
              <a:t> </a:t>
            </a:r>
            <a:r>
              <a:rPr lang="fr-FR" dirty="0" err="1"/>
              <a:t>vom</a:t>
            </a:r>
            <a:r>
              <a:rPr lang="fr-FR" dirty="0"/>
              <a:t> </a:t>
            </a:r>
            <a:r>
              <a:rPr lang="fr-FR" dirty="0" err="1"/>
              <a:t>Amt</a:t>
            </a:r>
            <a:r>
              <a:rPr lang="fr-FR" dirty="0"/>
              <a:t> </a:t>
            </a:r>
            <a:r>
              <a:rPr lang="fr-FR" dirty="0" err="1"/>
              <a:t>für</a:t>
            </a:r>
            <a:r>
              <a:rPr lang="fr-FR" dirty="0"/>
              <a:t> </a:t>
            </a:r>
            <a:r>
              <a:rPr lang="fr-FR" dirty="0" err="1"/>
              <a:t>Berufsbildung</a:t>
            </a:r>
            <a:r>
              <a:rPr lang="fr-FR" dirty="0"/>
              <a:t> </a:t>
            </a:r>
            <a:r>
              <a:rPr lang="fr-FR" dirty="0" err="1"/>
              <a:t>bezogen</a:t>
            </a:r>
            <a:r>
              <a:rPr lang="fr-FR" dirty="0"/>
              <a:t> </a:t>
            </a:r>
            <a:r>
              <a:rPr lang="fr-FR" dirty="0" err="1"/>
              <a:t>werden</a:t>
            </a:r>
            <a:r>
              <a:rPr lang="fr-FR" dirty="0"/>
              <a:t> : </a:t>
            </a:r>
            <a:r>
              <a:rPr lang="fr-FR" dirty="0">
                <a:hlinkClick r:id="rId4"/>
              </a:rPr>
              <a:t>www.fr.ch/bba</a:t>
            </a:r>
            <a:r>
              <a:rPr lang="fr-FR" dirty="0"/>
              <a:t> 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endParaRPr lang="fr-FR" sz="1400" dirty="0"/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fr-FR" dirty="0" err="1"/>
              <a:t>Unter</a:t>
            </a:r>
            <a:r>
              <a:rPr lang="fr-FR" dirty="0"/>
              <a:t> der </a:t>
            </a:r>
            <a:r>
              <a:rPr lang="fr-FR" dirty="0" err="1"/>
              <a:t>Rubrik</a:t>
            </a:r>
            <a:r>
              <a:rPr lang="fr-FR" dirty="0"/>
              <a:t> « </a:t>
            </a:r>
            <a:r>
              <a:rPr lang="fr-FR" dirty="0" err="1"/>
              <a:t>Während</a:t>
            </a:r>
            <a:r>
              <a:rPr lang="fr-FR" dirty="0"/>
              <a:t> der </a:t>
            </a:r>
            <a:r>
              <a:rPr lang="fr-FR" dirty="0" err="1"/>
              <a:t>Lehre</a:t>
            </a:r>
            <a:r>
              <a:rPr lang="fr-FR" dirty="0"/>
              <a:t> », 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endParaRPr lang="fr-FR" dirty="0"/>
          </a:p>
          <a:p>
            <a:pPr marL="342900" indent="-3429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« </a:t>
            </a:r>
            <a:r>
              <a:rPr lang="fr-FR" dirty="0" err="1"/>
              <a:t>Qualifikationsverfahren</a:t>
            </a:r>
            <a:r>
              <a:rPr lang="fr-FR" dirty="0"/>
              <a:t> – </a:t>
            </a:r>
            <a:r>
              <a:rPr lang="fr-FR" dirty="0" err="1"/>
              <a:t>Prüfungen</a:t>
            </a:r>
            <a:r>
              <a:rPr lang="fr-FR" dirty="0"/>
              <a:t> »</a:t>
            </a:r>
          </a:p>
          <a:p>
            <a:pPr marL="342900" indent="-34290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« Weisungen für die Qualifikationsverfahren »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de-DE" sz="1200" dirty="0"/>
              <a:t>    </a:t>
            </a:r>
            <a:endParaRPr lang="de-DE" sz="600" dirty="0"/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fr-FR" dirty="0" err="1"/>
              <a:t>Was</a:t>
            </a:r>
            <a:r>
              <a:rPr lang="fr-FR" dirty="0"/>
              <a:t> </a:t>
            </a:r>
            <a:r>
              <a:rPr lang="fr-FR" dirty="0" err="1"/>
              <a:t>passiert</a:t>
            </a:r>
            <a:r>
              <a:rPr lang="fr-FR" dirty="0"/>
              <a:t> </a:t>
            </a:r>
            <a:r>
              <a:rPr lang="fr-FR" dirty="0" err="1"/>
              <a:t>bei</a:t>
            </a:r>
            <a:r>
              <a:rPr lang="fr-FR" dirty="0"/>
              <a:t> </a:t>
            </a:r>
            <a:r>
              <a:rPr lang="fr-FR" dirty="0" err="1"/>
              <a:t>Verspätung</a:t>
            </a:r>
            <a:r>
              <a:rPr lang="fr-FR" dirty="0"/>
              <a:t> </a:t>
            </a:r>
            <a:r>
              <a:rPr lang="fr-FR" dirty="0" err="1"/>
              <a:t>oder</a:t>
            </a:r>
            <a:r>
              <a:rPr lang="fr-FR" dirty="0"/>
              <a:t> </a:t>
            </a:r>
            <a:r>
              <a:rPr lang="fr-FR" dirty="0" err="1"/>
              <a:t>Absenz</a:t>
            </a:r>
            <a:r>
              <a:rPr lang="fr-FR" dirty="0"/>
              <a:t> ?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fr-FR" dirty="0" err="1"/>
              <a:t>Kandidat</a:t>
            </a:r>
            <a:r>
              <a:rPr lang="fr-FR" dirty="0"/>
              <a:t>-in </a:t>
            </a:r>
            <a:r>
              <a:rPr lang="fr-FR" dirty="0" err="1"/>
              <a:t>muss</a:t>
            </a:r>
            <a:r>
              <a:rPr lang="fr-FR" dirty="0"/>
              <a:t> </a:t>
            </a:r>
            <a:r>
              <a:rPr lang="fr-FR" dirty="0" err="1"/>
              <a:t>eine</a:t>
            </a:r>
            <a:r>
              <a:rPr lang="fr-FR" dirty="0"/>
              <a:t> ID/</a:t>
            </a:r>
            <a:r>
              <a:rPr lang="fr-FR" dirty="0" err="1"/>
              <a:t>Pass</a:t>
            </a:r>
            <a:r>
              <a:rPr lang="fr-FR" dirty="0"/>
              <a:t> </a:t>
            </a:r>
            <a:r>
              <a:rPr lang="fr-FR" dirty="0" err="1"/>
              <a:t>mitbringen</a:t>
            </a:r>
            <a:r>
              <a:rPr lang="fr-FR" dirty="0"/>
              <a:t>.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fr-FR" dirty="0" err="1"/>
              <a:t>Elektronische</a:t>
            </a:r>
            <a:r>
              <a:rPr lang="fr-FR" dirty="0"/>
              <a:t> </a:t>
            </a:r>
            <a:r>
              <a:rPr lang="fr-FR" dirty="0" err="1"/>
              <a:t>und</a:t>
            </a:r>
            <a:r>
              <a:rPr lang="fr-FR" dirty="0"/>
              <a:t> </a:t>
            </a:r>
            <a:r>
              <a:rPr lang="fr-FR" dirty="0" err="1"/>
              <a:t>kommunikative</a:t>
            </a:r>
            <a:r>
              <a:rPr lang="fr-FR" dirty="0"/>
              <a:t> </a:t>
            </a:r>
            <a:r>
              <a:rPr lang="fr-FR" dirty="0" err="1"/>
              <a:t>Geräte</a:t>
            </a:r>
            <a:r>
              <a:rPr lang="fr-FR" dirty="0"/>
              <a:t> </a:t>
            </a:r>
            <a:r>
              <a:rPr lang="fr-FR" dirty="0" err="1"/>
              <a:t>sind</a:t>
            </a:r>
            <a:r>
              <a:rPr lang="fr-FR" dirty="0"/>
              <a:t> </a:t>
            </a:r>
            <a:r>
              <a:rPr lang="fr-FR" dirty="0" err="1"/>
              <a:t>nicht</a:t>
            </a:r>
            <a:r>
              <a:rPr lang="fr-FR" dirty="0"/>
              <a:t> </a:t>
            </a:r>
            <a:r>
              <a:rPr lang="fr-FR" dirty="0" err="1"/>
              <a:t>erlaubt</a:t>
            </a:r>
            <a:r>
              <a:rPr lang="fr-FR" dirty="0"/>
              <a:t>.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fr-CH" dirty="0" err="1"/>
              <a:t>Jeder</a:t>
            </a:r>
            <a:r>
              <a:rPr lang="fr-CH" dirty="0"/>
              <a:t> </a:t>
            </a:r>
            <a:r>
              <a:rPr lang="fr-CH" dirty="0" err="1"/>
              <a:t>Betrug</a:t>
            </a:r>
            <a:r>
              <a:rPr lang="fr-CH" dirty="0"/>
              <a:t> </a:t>
            </a:r>
            <a:r>
              <a:rPr lang="fr-CH" dirty="0" err="1"/>
              <a:t>oder</a:t>
            </a:r>
            <a:r>
              <a:rPr lang="fr-CH" dirty="0"/>
              <a:t> </a:t>
            </a:r>
            <a:r>
              <a:rPr lang="fr-CH" dirty="0" err="1"/>
              <a:t>Betrugsversuch</a:t>
            </a:r>
            <a:r>
              <a:rPr lang="fr-CH" dirty="0"/>
              <a:t> </a:t>
            </a:r>
            <a:r>
              <a:rPr lang="fr-CH" dirty="0" err="1"/>
              <a:t>wird</a:t>
            </a:r>
            <a:r>
              <a:rPr lang="fr-CH" dirty="0"/>
              <a:t> mit der Note 1 </a:t>
            </a:r>
            <a:r>
              <a:rPr lang="fr-CH" dirty="0" err="1"/>
              <a:t>sanktionniert</a:t>
            </a:r>
            <a:r>
              <a:rPr lang="fr-CH" dirty="0"/>
              <a:t>.</a:t>
            </a:r>
            <a:endParaRPr lang="fr-FR" dirty="0"/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fr-FR" dirty="0" err="1"/>
              <a:t>Esswaren</a:t>
            </a:r>
            <a:r>
              <a:rPr lang="fr-FR" dirty="0"/>
              <a:t> </a:t>
            </a:r>
            <a:r>
              <a:rPr lang="fr-FR" dirty="0" err="1"/>
              <a:t>sind</a:t>
            </a:r>
            <a:r>
              <a:rPr lang="fr-FR" dirty="0"/>
              <a:t> </a:t>
            </a:r>
            <a:r>
              <a:rPr lang="fr-FR" dirty="0" err="1"/>
              <a:t>nicht</a:t>
            </a:r>
            <a:r>
              <a:rPr lang="fr-FR" dirty="0"/>
              <a:t> </a:t>
            </a:r>
            <a:r>
              <a:rPr lang="fr-FR" dirty="0" err="1"/>
              <a:t>erlaubt</a:t>
            </a:r>
            <a:r>
              <a:rPr lang="fr-FR" dirty="0"/>
              <a:t>, </a:t>
            </a:r>
            <a:r>
              <a:rPr lang="fr-FR" dirty="0" err="1"/>
              <a:t>ein</a:t>
            </a:r>
            <a:r>
              <a:rPr lang="fr-FR" dirty="0"/>
              <a:t> </a:t>
            </a:r>
            <a:r>
              <a:rPr lang="fr-FR" dirty="0" err="1"/>
              <a:t>Getränk</a:t>
            </a:r>
            <a:r>
              <a:rPr lang="fr-FR" dirty="0"/>
              <a:t> </a:t>
            </a:r>
            <a:r>
              <a:rPr lang="fr-FR" dirty="0" err="1"/>
              <a:t>ist</a:t>
            </a:r>
            <a:r>
              <a:rPr lang="fr-FR" dirty="0"/>
              <a:t> </a:t>
            </a:r>
            <a:r>
              <a:rPr lang="fr-FR" dirty="0" err="1"/>
              <a:t>erlaubt</a:t>
            </a:r>
            <a:r>
              <a:rPr lang="fr-FR" dirty="0"/>
              <a:t>. 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Ø"/>
            </a:pPr>
            <a:r>
              <a:rPr lang="fr-FR" dirty="0" err="1"/>
              <a:t>Kugelschreiber</a:t>
            </a:r>
            <a:r>
              <a:rPr lang="fr-FR" dirty="0"/>
              <a:t>, </a:t>
            </a:r>
            <a:r>
              <a:rPr lang="fr-FR" dirty="0" err="1"/>
              <a:t>Stabilo</a:t>
            </a:r>
            <a:r>
              <a:rPr lang="fr-FR" dirty="0"/>
              <a:t> Boss </a:t>
            </a:r>
            <a:r>
              <a:rPr lang="fr-FR" dirty="0" err="1"/>
              <a:t>mitnehmen</a:t>
            </a:r>
            <a:r>
              <a:rPr lang="fr-FR" dirty="0"/>
              <a:t>, </a:t>
            </a:r>
            <a:r>
              <a:rPr lang="fr-FR" dirty="0" err="1"/>
              <a:t>kein</a:t>
            </a:r>
            <a:r>
              <a:rPr lang="fr-FR" dirty="0"/>
              <a:t> </a:t>
            </a:r>
            <a:r>
              <a:rPr lang="fr-FR" dirty="0" err="1"/>
              <a:t>Tipp</a:t>
            </a:r>
            <a:r>
              <a:rPr lang="fr-FR" dirty="0"/>
              <a:t>-Ex.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fr-FR" dirty="0">
                <a:solidFill>
                  <a:srgbClr val="FF0000"/>
                </a:solidFill>
                <a:latin typeface="Webdings" panose="05030102010509060703" pitchFamily="18" charset="2"/>
              </a:rPr>
              <a:t>4</a:t>
            </a:r>
            <a:r>
              <a:rPr lang="fr-FR" dirty="0">
                <a:solidFill>
                  <a:srgbClr val="333333"/>
                </a:solidFill>
                <a:latin typeface="+mj-lt"/>
              </a:rPr>
              <a:t>Schriftl. </a:t>
            </a:r>
            <a:r>
              <a:rPr lang="fr-FR" dirty="0" err="1">
                <a:solidFill>
                  <a:srgbClr val="333333"/>
                </a:solidFill>
                <a:latin typeface="+mj-lt"/>
              </a:rPr>
              <a:t>Prüfung</a:t>
            </a:r>
            <a:r>
              <a:rPr lang="fr-FR" dirty="0">
                <a:solidFill>
                  <a:srgbClr val="333333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333333"/>
                </a:solidFill>
                <a:latin typeface="+mj-lt"/>
              </a:rPr>
              <a:t>Prüfungsfragen</a:t>
            </a:r>
            <a:r>
              <a:rPr lang="fr-FR" dirty="0">
                <a:solidFill>
                  <a:srgbClr val="333333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333333"/>
                </a:solidFill>
                <a:latin typeface="+mj-lt"/>
              </a:rPr>
              <a:t>Nullserie</a:t>
            </a:r>
            <a:r>
              <a:rPr lang="fr-FR" dirty="0">
                <a:solidFill>
                  <a:srgbClr val="333333"/>
                </a:solidFill>
                <a:latin typeface="+mj-lt"/>
              </a:rPr>
              <a:t> </a:t>
            </a:r>
            <a:r>
              <a:rPr lang="fr-FR" dirty="0" err="1">
                <a:solidFill>
                  <a:srgbClr val="333333"/>
                </a:solidFill>
                <a:latin typeface="+mj-lt"/>
              </a:rPr>
              <a:t>FaBe</a:t>
            </a:r>
            <a:r>
              <a:rPr lang="fr-FR" dirty="0">
                <a:solidFill>
                  <a:srgbClr val="333333"/>
                </a:solidFill>
                <a:latin typeface="+mj-lt"/>
              </a:rPr>
              <a:t> 2024 </a:t>
            </a:r>
            <a:r>
              <a:rPr lang="fr-FR" dirty="0">
                <a:solidFill>
                  <a:srgbClr val="333333"/>
                </a:solidFill>
                <a:latin typeface="+mn-lt"/>
              </a:rPr>
              <a:t>:                                    </a:t>
            </a:r>
          </a:p>
          <a:p>
            <a:pPr marL="0" indent="0">
              <a:lnSpc>
                <a:spcPct val="80000"/>
              </a:lnSpc>
              <a:spcAft>
                <a:spcPts val="0"/>
              </a:spcAft>
              <a:buNone/>
            </a:pPr>
            <a:r>
              <a:rPr lang="fr-FR" dirty="0">
                <a:solidFill>
                  <a:srgbClr val="5D7FA1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                                                                                    </a:t>
            </a:r>
            <a:r>
              <a:rPr lang="fr-FR" dirty="0">
                <a:solidFill>
                  <a:srgbClr val="FF0000"/>
                </a:solidFill>
                <a:latin typeface="+mn-lt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avoirsocial.ch</a:t>
            </a:r>
            <a:r>
              <a:rPr lang="fr-FR" dirty="0">
                <a:solidFill>
                  <a:srgbClr val="FF0000"/>
                </a:solidFill>
                <a:latin typeface="+mn-lt"/>
              </a:rPr>
              <a:t> </a:t>
            </a:r>
            <a:r>
              <a:rPr lang="fr-FR" dirty="0">
                <a:solidFill>
                  <a:srgbClr val="FF0000"/>
                </a:solidFill>
              </a:rPr>
              <a:t> 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24164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474489"/>
          </a:xfrm>
        </p:spPr>
        <p:txBody>
          <a:bodyPr/>
          <a:lstStyle/>
          <a:p>
            <a:pPr algn="ctr"/>
            <a:r>
              <a:rPr lang="fr-FR" dirty="0">
                <a:latin typeface="Lucida Sans" pitchFamily="34" charset="0"/>
              </a:rPr>
              <a:t>EFZ FABE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327200"/>
            <a:ext cx="8242300" cy="3016210"/>
          </a:xfrm>
        </p:spPr>
        <p:txBody>
          <a:bodyPr/>
          <a:lstStyle/>
          <a:p>
            <a:pPr>
              <a:lnSpc>
                <a:spcPct val="90000"/>
              </a:lnSpc>
              <a:buNone/>
            </a:pPr>
            <a:endParaRPr lang="fr-CH" b="1" dirty="0"/>
          </a:p>
          <a:p>
            <a:pPr>
              <a:lnSpc>
                <a:spcPct val="90000"/>
              </a:lnSpc>
              <a:buNone/>
            </a:pPr>
            <a:r>
              <a:rPr lang="fr-CH" b="1" dirty="0"/>
              <a:t>     </a:t>
            </a:r>
            <a:r>
              <a:rPr lang="fr-CH" b="1" dirty="0" err="1"/>
              <a:t>Allgemeinbildung</a:t>
            </a:r>
            <a:r>
              <a:rPr lang="fr-CH" b="1" dirty="0"/>
              <a:t> ABU </a:t>
            </a:r>
            <a:r>
              <a:rPr lang="fr-CH" dirty="0"/>
              <a:t>(</a:t>
            </a:r>
            <a:r>
              <a:rPr lang="fr-CH" dirty="0" err="1"/>
              <a:t>für</a:t>
            </a:r>
            <a:r>
              <a:rPr lang="fr-CH" dirty="0"/>
              <a:t> die </a:t>
            </a:r>
            <a:r>
              <a:rPr lang="fr-CH" dirty="0" err="1"/>
              <a:t>Personen</a:t>
            </a:r>
            <a:r>
              <a:rPr lang="fr-CH" dirty="0"/>
              <a:t> die </a:t>
            </a:r>
            <a:r>
              <a:rPr lang="fr-CH" dirty="0" err="1"/>
              <a:t>nicht</a:t>
            </a:r>
            <a:r>
              <a:rPr lang="fr-CH" dirty="0"/>
              <a:t> </a:t>
            </a:r>
            <a:r>
              <a:rPr lang="fr-CH" dirty="0" err="1"/>
              <a:t>dispensiert</a:t>
            </a:r>
            <a:r>
              <a:rPr lang="fr-CH" dirty="0"/>
              <a:t> </a:t>
            </a:r>
            <a:r>
              <a:rPr lang="fr-CH" dirty="0" err="1"/>
              <a:t>sind</a:t>
            </a:r>
            <a:r>
              <a:rPr lang="fr-CH" dirty="0"/>
              <a:t>, die Organisation </a:t>
            </a:r>
            <a:r>
              <a:rPr lang="fr-CH" dirty="0" err="1"/>
              <a:t>dieser</a:t>
            </a:r>
            <a:r>
              <a:rPr lang="fr-CH" dirty="0"/>
              <a:t> </a:t>
            </a:r>
            <a:r>
              <a:rPr lang="fr-CH" dirty="0" err="1"/>
              <a:t>Prüfung</a:t>
            </a:r>
            <a:r>
              <a:rPr lang="fr-CH" dirty="0"/>
              <a:t> </a:t>
            </a:r>
            <a:r>
              <a:rPr lang="fr-CH" dirty="0" err="1"/>
              <a:t>liegt</a:t>
            </a:r>
            <a:r>
              <a:rPr lang="fr-CH" dirty="0"/>
              <a:t> </a:t>
            </a:r>
            <a:r>
              <a:rPr lang="fr-CH" dirty="0" err="1"/>
              <a:t>bei</a:t>
            </a:r>
            <a:r>
              <a:rPr lang="fr-CH" dirty="0"/>
              <a:t> der </a:t>
            </a:r>
            <a:r>
              <a:rPr lang="fr-CH" dirty="0" err="1"/>
              <a:t>Schule</a:t>
            </a:r>
            <a:r>
              <a:rPr lang="fr-CH" dirty="0"/>
              <a:t> ESSG)</a:t>
            </a:r>
          </a:p>
          <a:p>
            <a:pPr>
              <a:lnSpc>
                <a:spcPct val="90000"/>
              </a:lnSpc>
              <a:buNone/>
            </a:pPr>
            <a:endParaRPr lang="fr-CH" dirty="0"/>
          </a:p>
          <a:p>
            <a:pPr>
              <a:lnSpc>
                <a:spcPct val="90000"/>
              </a:lnSpc>
              <a:buFontTx/>
              <a:buChar char="•"/>
            </a:pPr>
            <a:r>
              <a:rPr lang="fr-CH" b="1" dirty="0" err="1">
                <a:solidFill>
                  <a:srgbClr val="FF0000"/>
                </a:solidFill>
              </a:rPr>
              <a:t>Schriftliche</a:t>
            </a:r>
            <a:r>
              <a:rPr lang="fr-CH" b="1" dirty="0">
                <a:solidFill>
                  <a:srgbClr val="FF0000"/>
                </a:solidFill>
              </a:rPr>
              <a:t> </a:t>
            </a:r>
            <a:r>
              <a:rPr lang="fr-CH" b="1" dirty="0" err="1">
                <a:solidFill>
                  <a:srgbClr val="FF0000"/>
                </a:solidFill>
              </a:rPr>
              <a:t>Prüfung</a:t>
            </a:r>
            <a:r>
              <a:rPr lang="fr-CH" b="1" dirty="0">
                <a:solidFill>
                  <a:srgbClr val="FF0000"/>
                </a:solidFill>
              </a:rPr>
              <a:t> : Montag, 26. Mai 2025 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fr-CH" b="1" dirty="0" err="1">
                <a:solidFill>
                  <a:srgbClr val="FF0000"/>
                </a:solidFill>
              </a:rPr>
              <a:t>Mündliche</a:t>
            </a:r>
            <a:r>
              <a:rPr lang="fr-CH" b="1" dirty="0">
                <a:solidFill>
                  <a:srgbClr val="FF0000"/>
                </a:solidFill>
              </a:rPr>
              <a:t> </a:t>
            </a:r>
            <a:r>
              <a:rPr lang="fr-CH" b="1" dirty="0" err="1">
                <a:solidFill>
                  <a:srgbClr val="FF0000"/>
                </a:solidFill>
              </a:rPr>
              <a:t>Prüfung</a:t>
            </a:r>
            <a:r>
              <a:rPr lang="fr-CH" b="1" dirty="0">
                <a:solidFill>
                  <a:srgbClr val="FF0000"/>
                </a:solidFill>
              </a:rPr>
              <a:t> : </a:t>
            </a:r>
            <a:r>
              <a:rPr lang="fr-CH" b="1" dirty="0" err="1">
                <a:solidFill>
                  <a:srgbClr val="FF0000"/>
                </a:solidFill>
              </a:rPr>
              <a:t>Woche</a:t>
            </a:r>
            <a:r>
              <a:rPr lang="fr-CH" b="1" dirty="0">
                <a:solidFill>
                  <a:srgbClr val="FF0000"/>
                </a:solidFill>
              </a:rPr>
              <a:t> </a:t>
            </a:r>
            <a:r>
              <a:rPr lang="fr-CH" b="1" dirty="0" err="1">
                <a:solidFill>
                  <a:srgbClr val="FF0000"/>
                </a:solidFill>
              </a:rPr>
              <a:t>vom</a:t>
            </a:r>
            <a:r>
              <a:rPr lang="fr-CH" b="1" dirty="0">
                <a:solidFill>
                  <a:srgbClr val="FF0000"/>
                </a:solidFill>
              </a:rPr>
              <a:t> 27. bis 30. Mai 2025 </a:t>
            </a:r>
            <a:r>
              <a:rPr lang="fr-CH" b="1" dirty="0"/>
              <a:t>(</a:t>
            </a:r>
            <a:r>
              <a:rPr lang="fr-CH" b="1" dirty="0" err="1"/>
              <a:t>gemäss</a:t>
            </a:r>
            <a:r>
              <a:rPr lang="fr-CH" b="1" dirty="0"/>
              <a:t> </a:t>
            </a:r>
            <a:r>
              <a:rPr lang="fr-CH" b="1" dirty="0" err="1"/>
              <a:t>persönlichem</a:t>
            </a:r>
            <a:r>
              <a:rPr lang="fr-CH" b="1" dirty="0"/>
              <a:t> </a:t>
            </a:r>
            <a:r>
              <a:rPr lang="fr-CH" b="1" dirty="0" err="1"/>
              <a:t>Aufgebot</a:t>
            </a:r>
            <a:r>
              <a:rPr lang="fr-CH" b="1" dirty="0"/>
              <a:t> der </a:t>
            </a:r>
            <a:r>
              <a:rPr lang="fr-CH" b="1" dirty="0" err="1"/>
              <a:t>Schule</a:t>
            </a:r>
            <a:r>
              <a:rPr lang="fr-CH" b="1" dirty="0"/>
              <a:t>)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889575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42300" cy="1382943"/>
          </a:xfrm>
        </p:spPr>
        <p:txBody>
          <a:bodyPr/>
          <a:lstStyle/>
          <a:p>
            <a:pPr algn="ctr"/>
            <a:r>
              <a:rPr lang="fr-CH" sz="2800" dirty="0">
                <a:latin typeface="Lucida Sans" pitchFamily="34" charset="0"/>
              </a:rPr>
              <a:t>EFZ FABE : </a:t>
            </a:r>
            <a:r>
              <a:rPr lang="fr-CH" sz="2800" dirty="0" err="1">
                <a:latin typeface="Lucida Sans" pitchFamily="34" charset="0"/>
              </a:rPr>
              <a:t>praktische</a:t>
            </a:r>
            <a:r>
              <a:rPr lang="fr-CH" sz="2800" dirty="0">
                <a:latin typeface="Lucida Sans" pitchFamily="34" charset="0"/>
              </a:rPr>
              <a:t> </a:t>
            </a:r>
            <a:r>
              <a:rPr lang="fr-CH" sz="2800" dirty="0" err="1">
                <a:latin typeface="Lucida Sans" pitchFamily="34" charset="0"/>
              </a:rPr>
              <a:t>Prüfung</a:t>
            </a:r>
            <a:r>
              <a:rPr lang="fr-CH" sz="2800" dirty="0">
                <a:latin typeface="Lucida Sans" pitchFamily="34" charset="0"/>
              </a:rPr>
              <a:t> VPA </a:t>
            </a:r>
            <a:br>
              <a:rPr lang="fr-CH" sz="2800" dirty="0">
                <a:latin typeface="Lucida Sans" pitchFamily="34" charset="0"/>
              </a:rPr>
            </a:br>
            <a:r>
              <a:rPr lang="fr-CH" sz="2700" dirty="0" err="1">
                <a:latin typeface="Lucida Sans" pitchFamily="34" charset="0"/>
              </a:rPr>
              <a:t>zwischen</a:t>
            </a:r>
            <a:r>
              <a:rPr lang="fr-CH" sz="2700" dirty="0">
                <a:latin typeface="Lucida Sans" pitchFamily="34" charset="0"/>
              </a:rPr>
              <a:t> </a:t>
            </a:r>
            <a:r>
              <a:rPr lang="fr-CH" sz="2700" dirty="0" err="1">
                <a:latin typeface="Lucida Sans" pitchFamily="34" charset="0"/>
              </a:rPr>
              <a:t>dem</a:t>
            </a:r>
            <a:r>
              <a:rPr lang="fr-CH" sz="2700" dirty="0">
                <a:latin typeface="Lucida Sans" pitchFamily="34" charset="0"/>
              </a:rPr>
              <a:t> 5. Mai </a:t>
            </a:r>
            <a:r>
              <a:rPr lang="fr-CH" sz="2700" dirty="0" err="1">
                <a:latin typeface="Lucida Sans" pitchFamily="34" charset="0"/>
              </a:rPr>
              <a:t>und</a:t>
            </a:r>
            <a:r>
              <a:rPr lang="fr-CH" sz="2700" dirty="0">
                <a:latin typeface="Lucida Sans" pitchFamily="34" charset="0"/>
              </a:rPr>
              <a:t> </a:t>
            </a:r>
            <a:r>
              <a:rPr lang="fr-CH" sz="2700" dirty="0" err="1">
                <a:latin typeface="Lucida Sans" pitchFamily="34" charset="0"/>
              </a:rPr>
              <a:t>dem</a:t>
            </a:r>
            <a:r>
              <a:rPr lang="fr-CH" sz="2700" dirty="0">
                <a:latin typeface="Lucida Sans" pitchFamily="34" charset="0"/>
              </a:rPr>
              <a:t> 13. Juni 2025 </a:t>
            </a:r>
            <a:br>
              <a:rPr lang="fr-CH" sz="2700" dirty="0">
                <a:latin typeface="Lucida Sans" pitchFamily="34" charset="0"/>
              </a:rPr>
            </a:br>
            <a:r>
              <a:rPr lang="fr-CH" sz="2700" dirty="0">
                <a:latin typeface="Lucida Sans" pitchFamily="34" charset="0"/>
              </a:rPr>
              <a:t>in der Institution</a:t>
            </a:r>
            <a:endParaRPr lang="fr-FR" sz="27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844825"/>
            <a:ext cx="8242300" cy="6242735"/>
          </a:xfrm>
        </p:spPr>
        <p:txBody>
          <a:bodyPr/>
          <a:lstStyle/>
          <a:p>
            <a:pPr algn="ctr">
              <a:spcAft>
                <a:spcPts val="0"/>
              </a:spcAft>
              <a:buNone/>
            </a:pPr>
            <a:r>
              <a:rPr lang="fr-FR" sz="2200" b="1" dirty="0" err="1"/>
              <a:t>Ablauf</a:t>
            </a:r>
            <a:r>
              <a:rPr lang="fr-FR" sz="2200" b="1" dirty="0"/>
              <a:t> </a:t>
            </a:r>
            <a:r>
              <a:rPr lang="fr-FR" sz="2200" b="1" dirty="0" err="1"/>
              <a:t>am</a:t>
            </a:r>
            <a:r>
              <a:rPr lang="fr-FR" sz="2200" b="1" dirty="0"/>
              <a:t> </a:t>
            </a:r>
            <a:r>
              <a:rPr lang="fr-FR" sz="2200" b="1" dirty="0" err="1"/>
              <a:t>Arbeitsplatz</a:t>
            </a:r>
            <a:r>
              <a:rPr lang="fr-FR" sz="2200" b="1" dirty="0"/>
              <a:t> des </a:t>
            </a:r>
            <a:r>
              <a:rPr lang="fr-FR" sz="2200" b="1" dirty="0" err="1"/>
              <a:t>Kandidaten</a:t>
            </a:r>
            <a:r>
              <a:rPr lang="fr-FR" sz="2200" b="1" dirty="0"/>
              <a:t> / der </a:t>
            </a:r>
            <a:r>
              <a:rPr lang="fr-FR" sz="2200" b="1" dirty="0" err="1"/>
              <a:t>Kandidatin</a:t>
            </a:r>
            <a:r>
              <a:rPr lang="fr-FR" sz="2200" b="1" dirty="0"/>
              <a:t> </a:t>
            </a:r>
            <a:r>
              <a:rPr lang="fr-FR" sz="2200" dirty="0"/>
              <a:t>in der </a:t>
            </a:r>
            <a:r>
              <a:rPr lang="fr-FR" sz="2200" dirty="0" err="1"/>
              <a:t>Form</a:t>
            </a:r>
            <a:r>
              <a:rPr lang="fr-FR" sz="2200" dirty="0"/>
              <a:t> </a:t>
            </a:r>
            <a:r>
              <a:rPr lang="fr-FR" sz="2200" dirty="0" err="1"/>
              <a:t>einer</a:t>
            </a:r>
            <a:r>
              <a:rPr lang="fr-FR" sz="2200" dirty="0"/>
              <a:t> </a:t>
            </a:r>
            <a:r>
              <a:rPr lang="fr-FR" sz="2200" b="1" dirty="0" err="1"/>
              <a:t>vorgegebenen</a:t>
            </a:r>
            <a:r>
              <a:rPr lang="fr-FR" sz="2200" b="1" dirty="0"/>
              <a:t> </a:t>
            </a:r>
            <a:r>
              <a:rPr lang="fr-FR" sz="2200" b="1" dirty="0" err="1"/>
              <a:t>praktischen</a:t>
            </a:r>
            <a:r>
              <a:rPr lang="fr-FR" sz="2200" b="1" dirty="0"/>
              <a:t> </a:t>
            </a:r>
            <a:r>
              <a:rPr lang="fr-FR" sz="2200" b="1" dirty="0" err="1"/>
              <a:t>Arbeit</a:t>
            </a:r>
            <a:r>
              <a:rPr lang="fr-FR" sz="2200" b="1" dirty="0"/>
              <a:t> VPA </a:t>
            </a:r>
            <a:r>
              <a:rPr lang="fr-FR" sz="2200" b="1" dirty="0" err="1"/>
              <a:t>von</a:t>
            </a:r>
            <a:r>
              <a:rPr lang="fr-FR" sz="2200" b="1" dirty="0"/>
              <a:t> </a:t>
            </a:r>
          </a:p>
          <a:p>
            <a:pPr algn="ctr">
              <a:spcAft>
                <a:spcPts val="0"/>
              </a:spcAft>
              <a:buNone/>
            </a:pPr>
            <a:r>
              <a:rPr lang="fr-FR" sz="2200" b="1" dirty="0"/>
              <a:t>4 Std. </a:t>
            </a:r>
            <a:r>
              <a:rPr lang="fr-FR" sz="2200" dirty="0" err="1"/>
              <a:t>gemäss</a:t>
            </a:r>
            <a:r>
              <a:rPr lang="fr-FR" sz="2200" dirty="0"/>
              <a:t> der </a:t>
            </a:r>
            <a:r>
              <a:rPr lang="fr-FR" sz="2200" dirty="0" err="1"/>
              <a:t>folgenden</a:t>
            </a:r>
            <a:r>
              <a:rPr lang="fr-FR" sz="2200" dirty="0"/>
              <a:t> </a:t>
            </a:r>
            <a:r>
              <a:rPr lang="fr-FR" sz="2200" dirty="0" err="1"/>
              <a:t>Zeiteinteilung</a:t>
            </a:r>
            <a:r>
              <a:rPr lang="fr-FR" sz="2200" dirty="0"/>
              <a:t> :</a:t>
            </a:r>
          </a:p>
          <a:p>
            <a:pPr algn="ctr">
              <a:spcAft>
                <a:spcPts val="0"/>
              </a:spcAft>
              <a:buNone/>
            </a:pPr>
            <a:endParaRPr lang="fr-FR" dirty="0"/>
          </a:p>
          <a:p>
            <a:pPr>
              <a:spcAft>
                <a:spcPts val="800"/>
              </a:spcAft>
              <a:buFont typeface="Arial" pitchFamily="34" charset="0"/>
              <a:buChar char="•"/>
            </a:pPr>
            <a:r>
              <a:rPr lang="fr-FR" sz="1600" dirty="0" err="1"/>
              <a:t>Eintreffen</a:t>
            </a:r>
            <a:r>
              <a:rPr lang="fr-FR" sz="1600" dirty="0"/>
              <a:t> der </a:t>
            </a:r>
            <a:r>
              <a:rPr lang="fr-FR" sz="1600" dirty="0" err="1"/>
              <a:t>Experten</a:t>
            </a:r>
            <a:r>
              <a:rPr lang="fr-FR" sz="1600" dirty="0"/>
              <a:t> (</a:t>
            </a:r>
            <a:r>
              <a:rPr lang="fr-FR" sz="1600" dirty="0" err="1"/>
              <a:t>zählt</a:t>
            </a:r>
            <a:r>
              <a:rPr lang="fr-FR" sz="1600" dirty="0"/>
              <a:t> </a:t>
            </a:r>
            <a:r>
              <a:rPr lang="fr-FR" sz="1600" dirty="0" err="1"/>
              <a:t>nicht</a:t>
            </a:r>
            <a:r>
              <a:rPr lang="fr-FR" sz="1600" dirty="0"/>
              <a:t> </a:t>
            </a:r>
            <a:r>
              <a:rPr lang="fr-FR" sz="1600" dirty="0" err="1"/>
              <a:t>zu</a:t>
            </a:r>
            <a:r>
              <a:rPr lang="fr-FR" sz="1600" dirty="0"/>
              <a:t> den 4 </a:t>
            </a:r>
            <a:r>
              <a:rPr lang="fr-FR" sz="1600" dirty="0" err="1"/>
              <a:t>Stunden</a:t>
            </a:r>
            <a:r>
              <a:rPr lang="fr-FR" sz="1600" dirty="0"/>
              <a:t>)			ca. 10 Min.</a:t>
            </a:r>
          </a:p>
          <a:p>
            <a:pPr>
              <a:spcAft>
                <a:spcPts val="800"/>
              </a:spcAft>
              <a:buFont typeface="Arial" pitchFamily="34" charset="0"/>
              <a:buChar char="•"/>
            </a:pPr>
            <a:r>
              <a:rPr lang="fr-FR" sz="1600" dirty="0" err="1"/>
              <a:t>Prüfungsaufgabe</a:t>
            </a:r>
            <a:r>
              <a:rPr lang="fr-FR" sz="1600" dirty="0"/>
              <a:t> 1 « </a:t>
            </a:r>
            <a:r>
              <a:rPr lang="fr-FR" sz="1600" dirty="0" err="1"/>
              <a:t>Einführung</a:t>
            </a:r>
            <a:r>
              <a:rPr lang="fr-FR" sz="1600" dirty="0"/>
              <a:t> der </a:t>
            </a:r>
            <a:r>
              <a:rPr lang="fr-FR" sz="1600" dirty="0" err="1"/>
              <a:t>Prüfungsexpert</a:t>
            </a:r>
            <a:r>
              <a:rPr lang="fr-FR" sz="1600" dirty="0"/>
              <a:t>*</a:t>
            </a:r>
            <a:r>
              <a:rPr lang="fr-FR" sz="1600" dirty="0" err="1"/>
              <a:t>innen</a:t>
            </a:r>
            <a:r>
              <a:rPr lang="fr-FR" sz="1600" dirty="0"/>
              <a:t> »	 	&gt;   15 Min.  </a:t>
            </a:r>
          </a:p>
          <a:p>
            <a:pPr>
              <a:spcAft>
                <a:spcPts val="800"/>
              </a:spcAft>
              <a:buFont typeface="Arial" pitchFamily="34" charset="0"/>
              <a:buChar char="•"/>
            </a:pPr>
            <a:r>
              <a:rPr lang="fr-FR" sz="1600" dirty="0" err="1"/>
              <a:t>Prüfungsaufgaben</a:t>
            </a:r>
            <a:r>
              <a:rPr lang="fr-FR" sz="1600" dirty="0"/>
              <a:t> 2 – 4								    	&gt; 2 Std.45 Min.  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fr-FR" sz="1600" dirty="0" err="1"/>
              <a:t>Vorbereitung</a:t>
            </a:r>
            <a:r>
              <a:rPr lang="fr-FR" sz="1600" dirty="0"/>
              <a:t> </a:t>
            </a:r>
            <a:r>
              <a:rPr lang="fr-FR" sz="1600" dirty="0" err="1"/>
              <a:t>für</a:t>
            </a:r>
            <a:r>
              <a:rPr lang="fr-FR" sz="1600" dirty="0"/>
              <a:t> </a:t>
            </a:r>
            <a:r>
              <a:rPr lang="fr-FR" sz="1600" dirty="0" err="1"/>
              <a:t>das</a:t>
            </a:r>
            <a:r>
              <a:rPr lang="fr-FR" sz="1600" dirty="0"/>
              <a:t> </a:t>
            </a:r>
            <a:r>
              <a:rPr lang="fr-FR" sz="1600" dirty="0" err="1"/>
              <a:t>Fachgespräch</a:t>
            </a:r>
            <a:r>
              <a:rPr lang="fr-FR" sz="1600" dirty="0"/>
              <a:t> (</a:t>
            </a:r>
            <a:r>
              <a:rPr lang="fr-FR" sz="1600" dirty="0" err="1"/>
              <a:t>Reflexionsaufgabe</a:t>
            </a:r>
            <a:r>
              <a:rPr lang="fr-FR" sz="1600" dirty="0"/>
              <a:t>)			&gt;   30 Min.</a:t>
            </a:r>
          </a:p>
          <a:p>
            <a:pPr>
              <a:spcAft>
                <a:spcPts val="800"/>
              </a:spcAft>
              <a:buFont typeface="Arial" pitchFamily="34" charset="0"/>
              <a:buChar char="•"/>
            </a:pPr>
            <a:r>
              <a:rPr lang="fr-FR" sz="1600" dirty="0" err="1"/>
              <a:t>Fachgespräch</a:t>
            </a:r>
            <a:r>
              <a:rPr lang="fr-FR" sz="1600" dirty="0"/>
              <a:t>							 				&gt;   30 Min.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fr-FR" sz="1600" dirty="0"/>
              <a:t>		- </a:t>
            </a:r>
            <a:r>
              <a:rPr lang="fr-FR" sz="1600" dirty="0" err="1"/>
              <a:t>Reflexion</a:t>
            </a:r>
            <a:r>
              <a:rPr lang="fr-FR" sz="1600" dirty="0"/>
              <a:t> </a:t>
            </a:r>
            <a:r>
              <a:rPr lang="fr-FR" sz="1600" dirty="0" err="1"/>
              <a:t>durch</a:t>
            </a:r>
            <a:r>
              <a:rPr lang="fr-FR" sz="1600" dirty="0"/>
              <a:t> </a:t>
            </a:r>
            <a:r>
              <a:rPr lang="fr-FR" sz="1600" dirty="0" err="1"/>
              <a:t>Kandidat</a:t>
            </a:r>
            <a:r>
              <a:rPr lang="fr-FR" sz="1600" dirty="0"/>
              <a:t>*in							&gt;   10 Min.</a:t>
            </a:r>
          </a:p>
          <a:p>
            <a:pPr marL="0" indent="0">
              <a:spcAft>
                <a:spcPts val="800"/>
              </a:spcAft>
              <a:buNone/>
            </a:pPr>
            <a:r>
              <a:rPr lang="fr-FR" sz="1600" dirty="0"/>
              <a:t>		- </a:t>
            </a:r>
            <a:r>
              <a:rPr lang="fr-FR" sz="1600" dirty="0" err="1"/>
              <a:t>Fragen</a:t>
            </a:r>
            <a:r>
              <a:rPr lang="fr-FR" sz="1600" dirty="0"/>
              <a:t> der </a:t>
            </a:r>
            <a:r>
              <a:rPr lang="fr-FR" sz="1600" dirty="0" err="1"/>
              <a:t>Prüfungsexpert</a:t>
            </a:r>
            <a:r>
              <a:rPr lang="fr-FR" sz="1600" dirty="0"/>
              <a:t>*</a:t>
            </a:r>
            <a:r>
              <a:rPr lang="fr-FR" sz="1600" dirty="0" err="1"/>
              <a:t>innen</a:t>
            </a:r>
            <a:r>
              <a:rPr lang="fr-FR" sz="1600" dirty="0"/>
              <a:t>						&gt;   20 Min. </a:t>
            </a:r>
          </a:p>
          <a:p>
            <a:pPr marL="0" indent="0">
              <a:spcAft>
                <a:spcPts val="600"/>
              </a:spcAft>
              <a:buNone/>
            </a:pPr>
            <a:endParaRPr lang="fr-FR" sz="1600" dirty="0"/>
          </a:p>
          <a:p>
            <a:pPr algn="ctr">
              <a:buNone/>
            </a:pPr>
            <a:endParaRPr lang="fr-FR" dirty="0"/>
          </a:p>
          <a:p>
            <a:pPr algn="ctr">
              <a:buNone/>
            </a:pPr>
            <a:endParaRPr lang="fr-CH" dirty="0"/>
          </a:p>
          <a:p>
            <a:pPr algn="ctr"/>
            <a:endParaRPr lang="fr-FR" dirty="0"/>
          </a:p>
          <a:p>
            <a:pPr algn="ctr"/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49626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46347" y="548680"/>
            <a:ext cx="8242300" cy="911403"/>
          </a:xfrm>
        </p:spPr>
        <p:txBody>
          <a:bodyPr/>
          <a:lstStyle/>
          <a:p>
            <a:pPr algn="ctr"/>
            <a:r>
              <a:rPr lang="fr-CH" sz="2800" dirty="0">
                <a:latin typeface="Lucida Sans" pitchFamily="34" charset="0"/>
              </a:rPr>
              <a:t>EFZ FABE :  </a:t>
            </a:r>
            <a:r>
              <a:rPr lang="fr-CH" sz="2800" dirty="0" err="1">
                <a:latin typeface="Lucida Sans" pitchFamily="34" charset="0"/>
              </a:rPr>
              <a:t>praktische</a:t>
            </a:r>
            <a:r>
              <a:rPr lang="fr-CH" sz="2800" dirty="0">
                <a:latin typeface="Lucida Sans" pitchFamily="34" charset="0"/>
              </a:rPr>
              <a:t> </a:t>
            </a:r>
            <a:r>
              <a:rPr lang="fr-CH" sz="2800" dirty="0" err="1">
                <a:latin typeface="Lucida Sans" pitchFamily="34" charset="0"/>
              </a:rPr>
              <a:t>Prüfung</a:t>
            </a:r>
            <a:r>
              <a:rPr lang="fr-CH" sz="2800" dirty="0">
                <a:latin typeface="Lucida Sans" pitchFamily="34" charset="0"/>
              </a:rPr>
              <a:t> VPA</a:t>
            </a:r>
            <a:br>
              <a:rPr lang="fr-CH" sz="2800" dirty="0">
                <a:latin typeface="Lucida Sans" pitchFamily="34" charset="0"/>
              </a:rPr>
            </a:br>
            <a:r>
              <a:rPr lang="fr-CH" sz="2800" dirty="0" err="1">
                <a:latin typeface="Lucida Sans" pitchFamily="34" charset="0"/>
              </a:rPr>
              <a:t>zwischen</a:t>
            </a:r>
            <a:r>
              <a:rPr lang="fr-CH" sz="2800" dirty="0">
                <a:latin typeface="Lucida Sans" pitchFamily="34" charset="0"/>
              </a:rPr>
              <a:t> </a:t>
            </a:r>
            <a:r>
              <a:rPr lang="fr-CH" sz="2800" dirty="0" err="1">
                <a:latin typeface="Lucida Sans" pitchFamily="34" charset="0"/>
              </a:rPr>
              <a:t>dem</a:t>
            </a:r>
            <a:r>
              <a:rPr lang="fr-CH" sz="2800" dirty="0">
                <a:latin typeface="Lucida Sans" pitchFamily="34" charset="0"/>
              </a:rPr>
              <a:t> 5. Mai </a:t>
            </a:r>
            <a:r>
              <a:rPr lang="fr-CH" sz="2800" dirty="0" err="1">
                <a:latin typeface="Lucida Sans" pitchFamily="34" charset="0"/>
              </a:rPr>
              <a:t>und</a:t>
            </a:r>
            <a:r>
              <a:rPr lang="fr-CH" sz="2800" dirty="0">
                <a:latin typeface="Lucida Sans" pitchFamily="34" charset="0"/>
              </a:rPr>
              <a:t> dem13. Juni 2025</a:t>
            </a:r>
            <a:endParaRPr lang="fr-FR" sz="2800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57200" y="1728266"/>
            <a:ext cx="8242300" cy="4308872"/>
          </a:xfrm>
        </p:spPr>
        <p:txBody>
          <a:bodyPr/>
          <a:lstStyle/>
          <a:p>
            <a:pPr>
              <a:buNone/>
            </a:pPr>
            <a:endParaRPr lang="fr-FR" b="1" dirty="0"/>
          </a:p>
          <a:p>
            <a:pPr>
              <a:buNone/>
            </a:pPr>
            <a:endParaRPr lang="fr-FR" b="1" dirty="0"/>
          </a:p>
          <a:p>
            <a:pPr>
              <a:buNone/>
            </a:pPr>
            <a:r>
              <a:rPr lang="fr-FR" b="1" dirty="0" err="1"/>
              <a:t>Ablauf</a:t>
            </a:r>
            <a:r>
              <a:rPr lang="fr-FR" b="1" dirty="0"/>
              <a:t> :</a:t>
            </a:r>
            <a:endParaRPr lang="fr-FR" dirty="0"/>
          </a:p>
          <a:p>
            <a:pPr>
              <a:buFont typeface="Arial" pitchFamily="34" charset="0"/>
              <a:buChar char="•"/>
            </a:pPr>
            <a:r>
              <a:rPr lang="fr-FR" b="1" dirty="0" err="1"/>
              <a:t>Zwei</a:t>
            </a:r>
            <a:r>
              <a:rPr lang="fr-FR" dirty="0"/>
              <a:t> </a:t>
            </a:r>
            <a:r>
              <a:rPr lang="fr-FR" dirty="0" err="1"/>
              <a:t>Experten</a:t>
            </a:r>
            <a:r>
              <a:rPr lang="fr-FR" dirty="0"/>
              <a:t> / </a:t>
            </a:r>
            <a:r>
              <a:rPr lang="fr-FR" dirty="0" err="1"/>
              <a:t>Expertinnen</a:t>
            </a:r>
            <a:r>
              <a:rPr lang="fr-FR" dirty="0"/>
              <a:t> </a:t>
            </a:r>
            <a:r>
              <a:rPr lang="fr-FR" dirty="0" err="1"/>
              <a:t>kommen</a:t>
            </a:r>
            <a:r>
              <a:rPr lang="fr-FR" dirty="0"/>
              <a:t> in den </a:t>
            </a:r>
            <a:r>
              <a:rPr lang="fr-FR" dirty="0" err="1"/>
              <a:t>Ausbildungsbetrieb</a:t>
            </a:r>
            <a:endParaRPr lang="fr-FR" dirty="0"/>
          </a:p>
          <a:p>
            <a:pPr>
              <a:buFont typeface="Arial" pitchFamily="34" charset="0"/>
              <a:buChar char="•"/>
            </a:pPr>
            <a:r>
              <a:rPr lang="fr-FR" b="1" dirty="0" err="1"/>
              <a:t>Während</a:t>
            </a:r>
            <a:r>
              <a:rPr lang="fr-FR" b="1" dirty="0"/>
              <a:t> </a:t>
            </a:r>
            <a:r>
              <a:rPr lang="fr-FR" b="1" dirty="0" err="1"/>
              <a:t>ungefähr</a:t>
            </a:r>
            <a:r>
              <a:rPr lang="fr-FR" b="1" dirty="0"/>
              <a:t> 4 Std. </a:t>
            </a:r>
            <a:r>
              <a:rPr lang="fr-FR" b="1" dirty="0" err="1"/>
              <a:t>Prüfungsdauer</a:t>
            </a:r>
            <a:r>
              <a:rPr lang="fr-FR" b="1" dirty="0"/>
              <a:t>, </a:t>
            </a:r>
            <a:r>
              <a:rPr lang="fr-FR" dirty="0" err="1"/>
              <a:t>vom</a:t>
            </a:r>
            <a:r>
              <a:rPr lang="fr-FR" dirty="0"/>
              <a:t> </a:t>
            </a:r>
            <a:r>
              <a:rPr lang="fr-FR" dirty="0" err="1"/>
              <a:t>Empfang</a:t>
            </a:r>
            <a:r>
              <a:rPr lang="fr-FR" dirty="0"/>
              <a:t> bis </a:t>
            </a:r>
            <a:r>
              <a:rPr lang="fr-FR" dirty="0" err="1"/>
              <a:t>zum</a:t>
            </a:r>
            <a:r>
              <a:rPr lang="fr-FR" dirty="0"/>
              <a:t> Ende des </a:t>
            </a:r>
            <a:r>
              <a:rPr lang="fr-FR" dirty="0" err="1"/>
              <a:t>Fachgesprächs</a:t>
            </a:r>
            <a:endParaRPr lang="fr-FR" dirty="0"/>
          </a:p>
          <a:p>
            <a:pPr>
              <a:buNone/>
            </a:pPr>
            <a:endParaRPr lang="fr-FR" b="1" dirty="0"/>
          </a:p>
          <a:p>
            <a:pPr>
              <a:buFont typeface="Arial" pitchFamily="34" charset="0"/>
              <a:buChar char="•"/>
            </a:pPr>
            <a:endParaRPr lang="fr-FR" b="1" dirty="0"/>
          </a:p>
          <a:p>
            <a:pPr>
              <a:buFont typeface="Arial" pitchFamily="34" charset="0"/>
              <a:buChar char="•"/>
            </a:pPr>
            <a:endParaRPr lang="fr-FR" dirty="0"/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919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304801"/>
            <a:ext cx="8242300" cy="948978"/>
          </a:xfrm>
        </p:spPr>
        <p:txBody>
          <a:bodyPr/>
          <a:lstStyle/>
          <a:p>
            <a:pPr algn="ctr"/>
            <a:r>
              <a:rPr lang="fr-CH" dirty="0">
                <a:latin typeface="Lucida Sans" pitchFamily="34" charset="0"/>
              </a:rPr>
              <a:t>EFZ FABE:  </a:t>
            </a:r>
            <a:r>
              <a:rPr lang="fr-CH" dirty="0" err="1">
                <a:latin typeface="Lucida Sans" pitchFamily="34" charset="0"/>
              </a:rPr>
              <a:t>praktische</a:t>
            </a:r>
            <a:r>
              <a:rPr lang="fr-CH" dirty="0">
                <a:latin typeface="Lucida Sans" pitchFamily="34" charset="0"/>
              </a:rPr>
              <a:t> </a:t>
            </a:r>
            <a:r>
              <a:rPr lang="fr-CH" dirty="0" err="1">
                <a:latin typeface="Lucida Sans" pitchFamily="34" charset="0"/>
              </a:rPr>
              <a:t>Prüfung</a:t>
            </a:r>
            <a:r>
              <a:rPr lang="fr-CH" dirty="0">
                <a:latin typeface="Lucida Sans" pitchFamily="34" charset="0"/>
              </a:rPr>
              <a:t> VPA</a:t>
            </a:r>
            <a:br>
              <a:rPr lang="fr-CH" dirty="0">
                <a:latin typeface="Lucida Sans" pitchFamily="34" charset="0"/>
              </a:rPr>
            </a:b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444500" y="825579"/>
            <a:ext cx="8242300" cy="6494085"/>
          </a:xfrm>
        </p:spPr>
        <p:txBody>
          <a:bodyPr/>
          <a:lstStyle/>
          <a:p>
            <a:pPr marL="0" indent="0">
              <a:spcAft>
                <a:spcPts val="0"/>
              </a:spcAft>
              <a:buNone/>
            </a:pPr>
            <a:endParaRPr lang="fr-CH" b="1" u="sng" dirty="0"/>
          </a:p>
          <a:p>
            <a:pPr marL="0" indent="0">
              <a:spcAft>
                <a:spcPts val="0"/>
              </a:spcAft>
              <a:buNone/>
            </a:pPr>
            <a:r>
              <a:rPr lang="fr-CH" b="1" u="sng" dirty="0" err="1"/>
              <a:t>Praxisaufgabe</a:t>
            </a:r>
            <a:r>
              <a:rPr lang="fr-CH" b="1" u="sng" dirty="0"/>
              <a:t> 1</a:t>
            </a:r>
            <a:r>
              <a:rPr lang="fr-CH" b="1" dirty="0"/>
              <a:t> : «</a:t>
            </a:r>
            <a:r>
              <a:rPr lang="fr-CH" b="1" dirty="0" err="1"/>
              <a:t>Einführung</a:t>
            </a:r>
            <a:r>
              <a:rPr lang="fr-CH" b="1" dirty="0"/>
              <a:t> der </a:t>
            </a:r>
            <a:r>
              <a:rPr lang="fr-CH" b="1" dirty="0" err="1"/>
              <a:t>Prüfungsexpert</a:t>
            </a:r>
            <a:r>
              <a:rPr lang="fr-CH" b="1" dirty="0"/>
              <a:t>*</a:t>
            </a:r>
            <a:r>
              <a:rPr lang="fr-CH" b="1" dirty="0" err="1"/>
              <a:t>innen</a:t>
            </a:r>
            <a:r>
              <a:rPr lang="fr-CH" b="1" dirty="0"/>
              <a:t>»</a:t>
            </a:r>
          </a:p>
          <a:p>
            <a:pPr marL="0" indent="0">
              <a:spcAft>
                <a:spcPts val="0"/>
              </a:spcAft>
              <a:buNone/>
            </a:pPr>
            <a:endParaRPr lang="fr-CH" sz="1200" b="1" dirty="0"/>
          </a:p>
          <a:p>
            <a:pPr marL="0" indent="0">
              <a:spcAft>
                <a:spcPts val="0"/>
              </a:spcAft>
              <a:buNone/>
            </a:pPr>
            <a:endParaRPr lang="fr-CH" sz="1200" b="1" dirty="0"/>
          </a:p>
          <a:p>
            <a:pPr marL="0" indent="0">
              <a:spcAft>
                <a:spcPts val="0"/>
              </a:spcAft>
              <a:buNone/>
            </a:pPr>
            <a:r>
              <a:rPr lang="fr-CH" sz="1800" u="sng" dirty="0" err="1"/>
              <a:t>Dauer</a:t>
            </a:r>
            <a:r>
              <a:rPr lang="fr-CH" sz="1800" dirty="0"/>
              <a:t> : 15 </a:t>
            </a:r>
            <a:r>
              <a:rPr lang="fr-CH" sz="1800" dirty="0" err="1"/>
              <a:t>Minuten</a:t>
            </a:r>
            <a:endParaRPr lang="fr-CH" sz="1800" dirty="0"/>
          </a:p>
          <a:p>
            <a:pPr marL="0" indent="0">
              <a:spcAft>
                <a:spcPts val="0"/>
              </a:spcAft>
              <a:buNone/>
            </a:pPr>
            <a:endParaRPr lang="fr-CH" sz="1800" u="sng" dirty="0"/>
          </a:p>
          <a:p>
            <a:pPr marL="0" indent="0">
              <a:spcAft>
                <a:spcPts val="0"/>
              </a:spcAft>
              <a:buNone/>
            </a:pPr>
            <a:r>
              <a:rPr lang="fr-CH" sz="1800" u="sng" dirty="0" err="1"/>
              <a:t>Ort</a:t>
            </a:r>
            <a:r>
              <a:rPr lang="fr-CH" sz="1800" dirty="0"/>
              <a:t> : </a:t>
            </a:r>
            <a:r>
              <a:rPr lang="fr-CH" sz="1800" dirty="0" err="1"/>
              <a:t>Gesprächszimmer</a:t>
            </a:r>
            <a:r>
              <a:rPr lang="fr-CH" sz="1800" dirty="0"/>
              <a:t>, welches von der Institution </a:t>
            </a:r>
            <a:r>
              <a:rPr lang="fr-CH" sz="1800" dirty="0" err="1"/>
              <a:t>zur</a:t>
            </a:r>
            <a:r>
              <a:rPr lang="fr-CH" sz="1800" dirty="0"/>
              <a:t> </a:t>
            </a:r>
            <a:r>
              <a:rPr lang="fr-CH" sz="1800" dirty="0" err="1"/>
              <a:t>Verfügung</a:t>
            </a:r>
            <a:r>
              <a:rPr lang="fr-CH" sz="1800" dirty="0"/>
              <a:t> </a:t>
            </a:r>
            <a:r>
              <a:rPr lang="fr-CH" sz="1800" dirty="0" err="1"/>
              <a:t>gestellt</a:t>
            </a:r>
            <a:r>
              <a:rPr lang="fr-CH" sz="1800" dirty="0"/>
              <a:t> </a:t>
            </a:r>
            <a:r>
              <a:rPr lang="fr-CH" sz="1800" dirty="0" err="1"/>
              <a:t>wird</a:t>
            </a:r>
            <a:r>
              <a:rPr lang="fr-CH" sz="1800" dirty="0"/>
              <a:t> </a:t>
            </a:r>
          </a:p>
          <a:p>
            <a:pPr marL="0" indent="0">
              <a:spcAft>
                <a:spcPts val="0"/>
              </a:spcAft>
              <a:buNone/>
            </a:pPr>
            <a:r>
              <a:rPr lang="fr-CH" sz="1800" dirty="0"/>
              <a:t>       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wo</a:t>
            </a:r>
            <a:r>
              <a:rPr lang="fr-CH" sz="1800" dirty="0"/>
              <a:t> man </a:t>
            </a:r>
            <a:r>
              <a:rPr lang="fr-CH" sz="1800" dirty="0" err="1"/>
              <a:t>ungestört</a:t>
            </a:r>
            <a:r>
              <a:rPr lang="fr-CH" sz="1800" dirty="0"/>
              <a:t> </a:t>
            </a:r>
            <a:r>
              <a:rPr lang="fr-CH" sz="1800" dirty="0" err="1"/>
              <a:t>ist</a:t>
            </a:r>
            <a:r>
              <a:rPr lang="fr-CH" sz="1800" dirty="0"/>
              <a:t>.</a:t>
            </a:r>
          </a:p>
          <a:p>
            <a:pPr marL="0" indent="0">
              <a:spcAft>
                <a:spcPts val="0"/>
              </a:spcAft>
              <a:buNone/>
            </a:pPr>
            <a:endParaRPr lang="fr-CH" sz="1800" u="sng" dirty="0"/>
          </a:p>
          <a:p>
            <a:pPr marL="0" indent="0">
              <a:spcAft>
                <a:spcPts val="0"/>
              </a:spcAft>
              <a:buNone/>
            </a:pPr>
            <a:r>
              <a:rPr lang="fr-CH" sz="1800" u="sng" dirty="0" err="1"/>
              <a:t>Material</a:t>
            </a:r>
            <a:r>
              <a:rPr lang="fr-CH" sz="1800" dirty="0"/>
              <a:t> : </a:t>
            </a:r>
            <a:r>
              <a:rPr lang="fr-CH" sz="1800" dirty="0" err="1"/>
              <a:t>Untenstehenden</a:t>
            </a:r>
            <a:r>
              <a:rPr lang="fr-CH" sz="1800" dirty="0"/>
              <a:t> Link </a:t>
            </a:r>
            <a:r>
              <a:rPr lang="fr-CH" sz="1800" dirty="0" err="1"/>
              <a:t>öffnen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ein</a:t>
            </a:r>
            <a:r>
              <a:rPr lang="fr-CH" sz="1800" dirty="0"/>
              <a:t> </a:t>
            </a:r>
            <a:r>
              <a:rPr lang="fr-CH" sz="1800" dirty="0" err="1"/>
              <a:t>schriftliches</a:t>
            </a:r>
            <a:r>
              <a:rPr lang="fr-CH" sz="1800" dirty="0"/>
              <a:t> </a:t>
            </a:r>
            <a:r>
              <a:rPr lang="fr-CH" sz="1800" dirty="0" err="1"/>
              <a:t>Dokument</a:t>
            </a:r>
            <a:r>
              <a:rPr lang="fr-CH" sz="1800" dirty="0"/>
              <a:t> </a:t>
            </a:r>
            <a:r>
              <a:rPr lang="fr-CH" sz="1800" dirty="0" err="1"/>
              <a:t>gemäss</a:t>
            </a:r>
            <a:r>
              <a:rPr lang="fr-CH" sz="1800" dirty="0"/>
              <a:t> den </a:t>
            </a:r>
            <a:r>
              <a:rPr lang="fr-CH" sz="1800" dirty="0" err="1"/>
              <a:t>angegebenen</a:t>
            </a:r>
            <a:r>
              <a:rPr lang="fr-CH" sz="1800" dirty="0"/>
              <a:t> </a:t>
            </a:r>
            <a:r>
              <a:rPr lang="fr-CH" sz="1800" dirty="0" err="1"/>
              <a:t>Informationen</a:t>
            </a:r>
            <a:r>
              <a:rPr lang="fr-CH" sz="1800" dirty="0"/>
              <a:t> </a:t>
            </a:r>
            <a:r>
              <a:rPr lang="fr-CH" sz="1800" dirty="0" err="1"/>
              <a:t>erarbeiten</a:t>
            </a:r>
            <a:r>
              <a:rPr lang="fr-CH" sz="1800" dirty="0"/>
              <a:t>. Das </a:t>
            </a:r>
            <a:r>
              <a:rPr lang="fr-CH" sz="1800" dirty="0" err="1"/>
              <a:t>Dokument</a:t>
            </a:r>
            <a:r>
              <a:rPr lang="fr-CH" sz="1800" dirty="0"/>
              <a:t> 2 x </a:t>
            </a:r>
            <a:r>
              <a:rPr lang="fr-CH" sz="1800" dirty="0" err="1"/>
              <a:t>ausdrucken</a:t>
            </a:r>
            <a:r>
              <a:rPr lang="fr-CH" sz="1800" dirty="0"/>
              <a:t> </a:t>
            </a:r>
            <a:r>
              <a:rPr lang="fr-CH" sz="1800" dirty="0" err="1"/>
              <a:t>und</a:t>
            </a:r>
            <a:r>
              <a:rPr lang="fr-CH" sz="1800" dirty="0"/>
              <a:t> </a:t>
            </a:r>
            <a:r>
              <a:rPr lang="fr-CH" sz="1800" dirty="0" err="1"/>
              <a:t>jedem</a:t>
            </a:r>
            <a:r>
              <a:rPr lang="fr-CH" sz="1800" dirty="0"/>
              <a:t> </a:t>
            </a:r>
            <a:r>
              <a:rPr lang="fr-CH" sz="1800" dirty="0" err="1"/>
              <a:t>Experten</a:t>
            </a:r>
            <a:r>
              <a:rPr lang="fr-CH" sz="1800" dirty="0"/>
              <a:t> je </a:t>
            </a:r>
            <a:r>
              <a:rPr lang="fr-CH" sz="1800" dirty="0" err="1"/>
              <a:t>ein</a:t>
            </a:r>
            <a:r>
              <a:rPr lang="fr-CH" sz="1800" dirty="0"/>
              <a:t> </a:t>
            </a:r>
            <a:r>
              <a:rPr lang="fr-CH" sz="1800" dirty="0" err="1"/>
              <a:t>Exemplar</a:t>
            </a:r>
            <a:r>
              <a:rPr lang="fr-CH" sz="1800" dirty="0"/>
              <a:t> </a:t>
            </a:r>
            <a:r>
              <a:rPr lang="fr-CH" sz="1800" dirty="0" err="1"/>
              <a:t>abgeben</a:t>
            </a:r>
            <a:r>
              <a:rPr lang="fr-CH" sz="1800" dirty="0"/>
              <a:t>. </a:t>
            </a:r>
            <a:endParaRPr lang="fr-FR" sz="1800" u="sng" dirty="0"/>
          </a:p>
          <a:p>
            <a:pPr marL="0" lvl="0" indent="0">
              <a:spcAft>
                <a:spcPts val="0"/>
              </a:spcAft>
              <a:buNone/>
            </a:pPr>
            <a:endParaRPr lang="fr-CH" sz="1800" dirty="0"/>
          </a:p>
          <a:p>
            <a:pPr marL="0" lvl="0" indent="0">
              <a:spcAft>
                <a:spcPts val="0"/>
              </a:spcAft>
              <a:buNone/>
            </a:pPr>
            <a:r>
              <a:rPr lang="fr-CH" sz="1800" dirty="0">
                <a:hlinkClick r:id="rId4"/>
              </a:rPr>
              <a:t>Dossier mit den </a:t>
            </a:r>
            <a:r>
              <a:rPr lang="fr-CH" sz="1800" dirty="0" err="1">
                <a:hlinkClick r:id="rId4"/>
              </a:rPr>
              <a:t>Praxisaufgaben</a:t>
            </a:r>
            <a:r>
              <a:rPr lang="fr-CH" sz="1800" dirty="0">
                <a:hlinkClick r:id="rId4"/>
              </a:rPr>
              <a:t> </a:t>
            </a:r>
            <a:r>
              <a:rPr lang="fr-CH" sz="1800" dirty="0" err="1">
                <a:hlinkClick r:id="rId4"/>
              </a:rPr>
              <a:t>und</a:t>
            </a:r>
            <a:r>
              <a:rPr lang="fr-CH" sz="1800" dirty="0">
                <a:hlinkClick r:id="rId4"/>
              </a:rPr>
              <a:t> </a:t>
            </a:r>
            <a:r>
              <a:rPr lang="fr-CH" sz="1800" dirty="0" err="1">
                <a:hlinkClick r:id="rId4"/>
              </a:rPr>
              <a:t>Informationen</a:t>
            </a:r>
            <a:r>
              <a:rPr lang="fr-CH" sz="1800" dirty="0">
                <a:hlinkClick r:id="rId4"/>
              </a:rPr>
              <a:t> </a:t>
            </a:r>
            <a:r>
              <a:rPr lang="fr-CH" sz="1800" dirty="0" err="1">
                <a:hlinkClick r:id="rId4"/>
              </a:rPr>
              <a:t>zum</a:t>
            </a:r>
            <a:r>
              <a:rPr lang="fr-CH" sz="1800" dirty="0">
                <a:hlinkClick r:id="rId4"/>
              </a:rPr>
              <a:t> </a:t>
            </a:r>
            <a:r>
              <a:rPr lang="fr-CH" sz="1800" dirty="0" err="1">
                <a:hlinkClick r:id="rId4"/>
              </a:rPr>
              <a:t>Fachgespräch</a:t>
            </a:r>
            <a:r>
              <a:rPr lang="fr-CH" sz="1800" dirty="0">
                <a:hlinkClick r:id="rId4"/>
              </a:rPr>
              <a:t> </a:t>
            </a:r>
            <a:r>
              <a:rPr lang="fr-CH" sz="1800" dirty="0" err="1">
                <a:hlinkClick r:id="rId4"/>
              </a:rPr>
              <a:t>für</a:t>
            </a:r>
            <a:r>
              <a:rPr lang="fr-CH" sz="1800" dirty="0">
                <a:hlinkClick r:id="rId4"/>
              </a:rPr>
              <a:t> die   </a:t>
            </a:r>
            <a:r>
              <a:rPr lang="fr-CH" sz="1800" dirty="0" err="1">
                <a:hlinkClick r:id="rId4"/>
              </a:rPr>
              <a:t>Kandidierenden</a:t>
            </a:r>
            <a:endParaRPr lang="fr-CH" sz="1800" dirty="0"/>
          </a:p>
          <a:p>
            <a:pPr marL="0" lvl="0" indent="0">
              <a:spcAft>
                <a:spcPts val="0"/>
              </a:spcAft>
              <a:buNone/>
            </a:pPr>
            <a:endParaRPr lang="fr-CH" sz="1800" dirty="0"/>
          </a:p>
          <a:p>
            <a:pPr marL="0" lvl="0" indent="0">
              <a:spcAft>
                <a:spcPts val="0"/>
              </a:spcAft>
              <a:buNone/>
            </a:pPr>
            <a:r>
              <a:rPr lang="fr-CH" sz="1800" dirty="0">
                <a:solidFill>
                  <a:srgbClr val="FF0000"/>
                </a:solidFill>
              </a:rPr>
              <a:t>!!!!! </a:t>
            </a:r>
            <a:r>
              <a:rPr lang="fr-CH" sz="1800" dirty="0" err="1">
                <a:solidFill>
                  <a:srgbClr val="FF0000"/>
                </a:solidFill>
              </a:rPr>
              <a:t>Diese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Praxisaufgabe</a:t>
            </a:r>
            <a:r>
              <a:rPr lang="fr-CH" sz="1800" dirty="0">
                <a:solidFill>
                  <a:srgbClr val="FF0000"/>
                </a:solidFill>
              </a:rPr>
              <a:t> 1 </a:t>
            </a:r>
            <a:r>
              <a:rPr lang="fr-CH" sz="1800" dirty="0" err="1">
                <a:solidFill>
                  <a:srgbClr val="FF0000"/>
                </a:solidFill>
              </a:rPr>
              <a:t>muss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schriftlich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erarbeitet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und</a:t>
            </a:r>
            <a:r>
              <a:rPr lang="fr-CH" sz="1800" dirty="0">
                <a:solidFill>
                  <a:srgbClr val="FF0000"/>
                </a:solidFill>
              </a:rPr>
              <a:t> 2x </a:t>
            </a:r>
            <a:r>
              <a:rPr lang="fr-CH" sz="1800" dirty="0" err="1">
                <a:solidFill>
                  <a:srgbClr val="FF0000"/>
                </a:solidFill>
              </a:rPr>
              <a:t>kopiert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werden</a:t>
            </a:r>
            <a:r>
              <a:rPr lang="fr-CH" sz="1800" dirty="0">
                <a:solidFill>
                  <a:srgbClr val="FF0000"/>
                </a:solidFill>
              </a:rPr>
              <a:t>,     </a:t>
            </a:r>
          </a:p>
          <a:p>
            <a:pPr marL="0" lvl="0" indent="0">
              <a:spcAft>
                <a:spcPts val="0"/>
              </a:spcAft>
              <a:buNone/>
            </a:pPr>
            <a:r>
              <a:rPr lang="fr-CH" sz="1800" dirty="0">
                <a:solidFill>
                  <a:srgbClr val="FF0000"/>
                </a:solidFill>
              </a:rPr>
              <a:t>      </a:t>
            </a:r>
            <a:r>
              <a:rPr lang="fr-CH" sz="1800" dirty="0" err="1">
                <a:solidFill>
                  <a:srgbClr val="FF0000"/>
                </a:solidFill>
              </a:rPr>
              <a:t>für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jeden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Experten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ein</a:t>
            </a:r>
            <a:r>
              <a:rPr lang="fr-CH" sz="1800" dirty="0">
                <a:solidFill>
                  <a:srgbClr val="FF0000"/>
                </a:solidFill>
              </a:rPr>
              <a:t> </a:t>
            </a:r>
            <a:r>
              <a:rPr lang="fr-CH" sz="1800" dirty="0" err="1">
                <a:solidFill>
                  <a:srgbClr val="FF0000"/>
                </a:solidFill>
              </a:rPr>
              <a:t>Exemplar</a:t>
            </a:r>
            <a:r>
              <a:rPr lang="fr-CH" sz="1800" dirty="0">
                <a:solidFill>
                  <a:srgbClr val="FF0000"/>
                </a:solidFill>
              </a:rPr>
              <a:t>.</a:t>
            </a:r>
            <a:endParaRPr lang="fr-FR" sz="1800" dirty="0">
              <a:solidFill>
                <a:srgbClr val="FF0000"/>
              </a:solidFill>
            </a:endParaRPr>
          </a:p>
          <a:p>
            <a:pPr marL="0" lvl="0" indent="0">
              <a:spcAft>
                <a:spcPts val="0"/>
              </a:spcAft>
              <a:buNone/>
            </a:pPr>
            <a:endParaRPr lang="fr-FR" sz="1400" dirty="0"/>
          </a:p>
          <a:p>
            <a:pPr marL="0" lvl="0" indent="0">
              <a:spcAft>
                <a:spcPts val="0"/>
              </a:spcAft>
              <a:buNone/>
            </a:pPr>
            <a:endParaRPr lang="fr-FR" sz="1400" dirty="0"/>
          </a:p>
          <a:p>
            <a:pPr marL="0" lvl="0" indent="0">
              <a:spcAft>
                <a:spcPts val="0"/>
              </a:spcAft>
              <a:buNone/>
            </a:pPr>
            <a:endParaRPr lang="fr-FR" sz="1400" dirty="0"/>
          </a:p>
          <a:p>
            <a:pPr marL="0" lvl="0" indent="0">
              <a:spcAft>
                <a:spcPts val="0"/>
              </a:spcAft>
              <a:buNone/>
            </a:pPr>
            <a:endParaRPr lang="fr-FR" sz="1400" dirty="0"/>
          </a:p>
          <a:p>
            <a:pPr marL="0" indent="0">
              <a:buNone/>
            </a:pPr>
            <a:endParaRPr lang="fr-FR" dirty="0"/>
          </a:p>
          <a:p>
            <a:pPr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2660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heme/theme1.xml><?xml version="1.0" encoding="utf-8"?>
<a:theme xmlns:a="http://schemas.openxmlformats.org/drawingml/2006/main" name="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pp_etat_de_fribourg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TaxCatchAll xmlns="d97b7a25-f455-4c87-b852-bca047863f64" xsi:nil="true"/>
    <lcf76f155ced4ddcb4097134ff3c332f xmlns="4666e9fd-f820-4449-8755-b7de26ef4605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974F54B6704D48B0127E1C9EE04867" ma:contentTypeVersion="18" ma:contentTypeDescription="Crée un document." ma:contentTypeScope="" ma:versionID="054ef4c743ffe13d64d8296ee243e393">
  <xsd:schema xmlns:xsd="http://www.w3.org/2001/XMLSchema" xmlns:xs="http://www.w3.org/2001/XMLSchema" xmlns:p="http://schemas.microsoft.com/office/2006/metadata/properties" xmlns:ns2="d97b7a25-f455-4c87-b852-bca047863f64" xmlns:ns3="4666e9fd-f820-4449-8755-b7de26ef4605" targetNamespace="http://schemas.microsoft.com/office/2006/metadata/properties" ma:root="true" ma:fieldsID="71a2dc4b525da28e00b0525c5dc60085" ns2:_="" ns3:_="">
    <xsd:import namespace="d97b7a25-f455-4c87-b852-bca047863f64"/>
    <xsd:import namespace="4666e9fd-f820-4449-8755-b7de26ef460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7b7a25-f455-4c87-b852-bca047863f6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229b6832-6504-48ef-aa99-629026831d5b}" ma:internalName="TaxCatchAll" ma:showField="CatchAllData" ma:web="d97b7a25-f455-4c87-b852-bca047863f6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66e9fd-f820-4449-8755-b7de26ef46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alises d’images" ma:readOnly="false" ma:fieldId="{5cf76f15-5ced-4ddc-b409-7134ff3c332f}" ma:taxonomyMulti="true" ma:sspId="7f5582c4-48b5-4976-a67b-76546a4634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3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43006D7-BDA8-489F-B394-5D861A0A0909}">
  <ds:schemaRefs>
    <ds:schemaRef ds:uri="4666e9fd-f820-4449-8755-b7de26ef4605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purl.org/dc/elements/1.1/"/>
    <ds:schemaRef ds:uri="d97b7a25-f455-4c87-b852-bca047863f64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C5D06AB-DB99-4A3F-AC3A-AA64C74D2A0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97b7a25-f455-4c87-b852-bca047863f64"/>
    <ds:schemaRef ds:uri="4666e9fd-f820-4449-8755-b7de26ef46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39A3D22-F20C-44E7-9621-51B9241CB79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72</TotalTime>
  <Words>2451</Words>
  <Application>Microsoft Office PowerPoint</Application>
  <PresentationFormat>Affichage à l'écran (4:3)</PresentationFormat>
  <Paragraphs>346</Paragraphs>
  <Slides>27</Slides>
  <Notes>2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7</vt:i4>
      </vt:variant>
    </vt:vector>
  </HeadingPairs>
  <TitlesOfParts>
    <vt:vector size="40" baseType="lpstr">
      <vt:lpstr>MS PGothic</vt:lpstr>
      <vt:lpstr>Arial</vt:lpstr>
      <vt:lpstr>Arial </vt:lpstr>
      <vt:lpstr>Calibri</vt:lpstr>
      <vt:lpstr>Frutiger Neue</vt:lpstr>
      <vt:lpstr>Lucida Grande</vt:lpstr>
      <vt:lpstr>Lucida Sans</vt:lpstr>
      <vt:lpstr>Webdings</vt:lpstr>
      <vt:lpstr>Wingdings</vt:lpstr>
      <vt:lpstr>pp_etat_de_fribourg</vt:lpstr>
      <vt:lpstr>1_pp_etat_de_fribourg</vt:lpstr>
      <vt:lpstr>2_pp_etat_de_fribourg</vt:lpstr>
      <vt:lpstr>think-cell Slide</vt:lpstr>
      <vt:lpstr>  Fachfrau / Fachmann Betreuung EFZ Qualifikationsverfahren 2025</vt:lpstr>
      <vt:lpstr>Verordnung über die berufliche Grundbildung FaBe vom 21. August 2020 </vt:lpstr>
      <vt:lpstr> EFZ FABE</vt:lpstr>
      <vt:lpstr>Présentation PowerPoint</vt:lpstr>
      <vt:lpstr>EFZ FABE Richtlinien schriftliche Prüfung Bk</vt:lpstr>
      <vt:lpstr>EFZ FABE</vt:lpstr>
      <vt:lpstr>EFZ FABE : praktische Prüfung VPA  zwischen dem 5. Mai und dem 13. Juni 2025  in der Institution</vt:lpstr>
      <vt:lpstr>EFZ FABE :  praktische Prüfung VPA zwischen dem 5. Mai und dem13. Juni 2025</vt:lpstr>
      <vt:lpstr>EFZ FABE:  praktische Prüfung VPA </vt:lpstr>
      <vt:lpstr>EFZ FABE:  praktische Prüfung VPA</vt:lpstr>
      <vt:lpstr>EFZ FABE:  praktische Prüfung VPA </vt:lpstr>
      <vt:lpstr>EFZ FABE:  praktische Prüfung VPA</vt:lpstr>
      <vt:lpstr>EFZ FABE :  praktische Prüfung VPA</vt:lpstr>
      <vt:lpstr>EFZ FABE:  praktische Prüfung VPA  Beurteilung</vt:lpstr>
      <vt:lpstr>Dossier / Programm VPA</vt:lpstr>
      <vt:lpstr>Vorbereitungsdossier VPA</vt:lpstr>
      <vt:lpstr>  </vt:lpstr>
      <vt:lpstr>EFZ FABE Gesamtnote des EFZ  </vt:lpstr>
      <vt:lpstr> </vt:lpstr>
      <vt:lpstr>Gesuch für Nachteilsausgleich</vt:lpstr>
      <vt:lpstr>EFZ FABE</vt:lpstr>
      <vt:lpstr>Mitteilung der Resultate – Aushändigung des EFZ</vt:lpstr>
      <vt:lpstr>Im Falle eines Misserfolgs…</vt:lpstr>
      <vt:lpstr>EFZ FABE</vt:lpstr>
      <vt:lpstr>Dokumente zum QV-2025 FaBe  Zu finden unter www.ortrafr.ch  </vt:lpstr>
      <vt:lpstr>EFZ - FABE </vt:lpstr>
      <vt:lpstr>Mandat als Expert/in FaBe</vt:lpstr>
    </vt:vector>
  </TitlesOfParts>
  <Company>ACP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PT F</dc:title>
  <dc:creator>Gantner Marie-Christine</dc:creator>
  <cp:lastModifiedBy>Susan Bielmann</cp:lastModifiedBy>
  <cp:revision>273</cp:revision>
  <cp:lastPrinted>2021-11-30T10:38:13Z</cp:lastPrinted>
  <dcterms:created xsi:type="dcterms:W3CDTF">2010-11-24T06:40:10Z</dcterms:created>
  <dcterms:modified xsi:type="dcterms:W3CDTF">2024-11-29T15:0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974F54B6704D48B0127E1C9EE04867</vt:lpwstr>
  </property>
  <property fmtid="{D5CDD505-2E9C-101B-9397-08002B2CF9AE}" pid="3" name="MediaServiceImageTags">
    <vt:lpwstr/>
  </property>
</Properties>
</file>